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Override2.xml" ContentType="application/vnd.openxmlformats-officedocument.themeOverr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Override3.xml" ContentType="application/vnd.openxmlformats-officedocument.themeOverrid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heme/themeOverride4.xml" ContentType="application/vnd.openxmlformats-officedocument.themeOverrid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heme/themeOverride5.xml" ContentType="application/vnd.openxmlformats-officedocument.themeOverrid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theme/themeOverride6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theme/themeOverride7.xml" ContentType="application/vnd.openxmlformats-officedocument.themeOverrid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9.xml" ContentType="application/vnd.openxmlformats-officedocument.theme+xml"/>
  <Override PartName="/ppt/theme/themeOverride8.xml" ContentType="application/vnd.openxmlformats-officedocument.themeOverrid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0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1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2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3.xml" ContentType="application/vnd.openxmlformats-officedocument.theme+xml"/>
  <Override PartName="/ppt/theme/themeOverride9.xml" ContentType="application/vnd.openxmlformats-officedocument.themeOverrid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4.xml" ContentType="application/vnd.openxmlformats-officedocument.theme+xml"/>
  <Override PartName="/ppt/theme/themeOverride10.xml" ContentType="application/vnd.openxmlformats-officedocument.themeOverrid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5.xml" ContentType="application/vnd.openxmlformats-officedocument.theme+xml"/>
  <Override PartName="/ppt/theme/themeOverride11.xml" ContentType="application/vnd.openxmlformats-officedocument.themeOverride+xml"/>
  <Override PartName="/ppt/tags/tag139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6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17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18.xml" ContentType="application/vnd.openxmlformats-officedocument.them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19.xml" ContentType="application/vnd.openxmlformats-officedocument.them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heme/theme20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21.xml" ContentType="application/vnd.openxmlformats-officedocument.them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theme/theme22.xml" ContentType="application/vnd.openxmlformats-officedocument.theme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theme/theme23.xml" ContentType="application/vnd.openxmlformats-officedocument.them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24.xml" ContentType="application/vnd.openxmlformats-officedocument.theme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heme/theme25.xml" ContentType="application/vnd.openxmlformats-officedocument.theme+xml"/>
  <Override PartName="/ppt/theme/theme2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4"/>
    <p:sldMasterId id="2147483706" r:id="rId5"/>
    <p:sldMasterId id="2147483710" r:id="rId6"/>
    <p:sldMasterId id="2147483724" r:id="rId7"/>
    <p:sldMasterId id="2147483742" r:id="rId8"/>
    <p:sldMasterId id="2147483754" r:id="rId9"/>
    <p:sldMasterId id="2147483798" r:id="rId10"/>
    <p:sldMasterId id="2147483943" r:id="rId11"/>
    <p:sldMasterId id="2147483972" r:id="rId12"/>
    <p:sldMasterId id="2147483982" r:id="rId13"/>
    <p:sldMasterId id="2147484047" r:id="rId14"/>
    <p:sldMasterId id="2147484060" r:id="rId15"/>
    <p:sldMasterId id="2147484080" r:id="rId16"/>
    <p:sldMasterId id="2147484098" r:id="rId17"/>
    <p:sldMasterId id="2147484107" r:id="rId18"/>
    <p:sldMasterId id="2147484116" r:id="rId19"/>
    <p:sldMasterId id="2147484131" r:id="rId20"/>
    <p:sldMasterId id="2147484205" r:id="rId21"/>
    <p:sldMasterId id="2147484273" r:id="rId22"/>
    <p:sldMasterId id="2147484309" r:id="rId23"/>
    <p:sldMasterId id="2147484376" r:id="rId24"/>
    <p:sldMasterId id="2147484418" r:id="rId25"/>
    <p:sldMasterId id="2147484493" r:id="rId26"/>
    <p:sldMasterId id="2147484538" r:id="rId27"/>
  </p:sldMasterIdLst>
  <p:notesMasterIdLst>
    <p:notesMasterId r:id="rId39"/>
  </p:notesMasterIdLst>
  <p:handoutMasterIdLst>
    <p:handoutMasterId r:id="rId40"/>
  </p:handoutMasterIdLst>
  <p:sldIdLst>
    <p:sldId id="543" r:id="rId28"/>
    <p:sldId id="1785" r:id="rId29"/>
    <p:sldId id="1776" r:id="rId30"/>
    <p:sldId id="1882" r:id="rId31"/>
    <p:sldId id="1803" r:id="rId32"/>
    <p:sldId id="1883" r:id="rId33"/>
    <p:sldId id="1884" r:id="rId34"/>
    <p:sldId id="1885" r:id="rId35"/>
    <p:sldId id="1805" r:id="rId36"/>
    <p:sldId id="1886" r:id="rId37"/>
    <p:sldId id="1804" r:id="rId38"/>
  </p:sldIdLst>
  <p:sldSz cx="12192000" cy="6858000"/>
  <p:notesSz cx="7010400" cy="9296400"/>
  <p:defaultTextStyle>
    <a:defPPr>
      <a:defRPr lang="en-US"/>
    </a:defPPr>
    <a:lvl1pPr marL="0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27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53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80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07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33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60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87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13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eredo, Karla Joana [CCC-OT_LTM]" initials="PKJ[" lastIdx="11" clrIdx="0"/>
  <p:cmAuthor id="1" name="Kurchenko, Ekaterina" initials="KE" lastIdx="4" clrIdx="1"/>
  <p:cmAuthor id="2" name="Cano, Paola [GCB-RTLB]" initials="CP[" lastIdx="4" clrIdx="4"/>
  <p:cmAuthor id="3" name="Dusermex" initials="D" lastIdx="1" clrIdx="3"/>
  <p:cmAuthor id="4" name="Peredo, Karla Joana [GCB-OT]" initials="PKJ[" lastIdx="1" clrIdx="5"/>
  <p:cmAuthor id="5" name="Hernandez, Ana (MX - Mexico)" initials="HA(-M" lastIdx="2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77F"/>
    <a:srgbClr val="0067B7"/>
    <a:srgbClr val="EE4228"/>
    <a:srgbClr val="87CBD8"/>
    <a:srgbClr val="7C1A4D"/>
    <a:srgbClr val="7B184F"/>
    <a:srgbClr val="F36F26"/>
    <a:srgbClr val="F26F27"/>
    <a:srgbClr val="EE4328"/>
    <a:srgbClr val="0079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852" autoAdjust="0"/>
    <p:restoredTop sz="90882" autoAdjust="0"/>
  </p:normalViewPr>
  <p:slideViewPr>
    <p:cSldViewPr snapToGrid="0" snapToObjects="1">
      <p:cViewPr varScale="1">
        <p:scale>
          <a:sx n="140" d="100"/>
          <a:sy n="140" d="100"/>
        </p:scale>
        <p:origin x="800" y="1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201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notesMaster" Target="notesMasters/notesMaster1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7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4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6.xml"/><Relationship Id="rId38" Type="http://schemas.openxmlformats.org/officeDocument/2006/relationships/slide" Target="slides/slide11.xml"/><Relationship Id="rId20" Type="http://schemas.openxmlformats.org/officeDocument/2006/relationships/slideMaster" Target="slideMasters/slideMaster17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4B3BEBB-2B3E-2044-94C4-AD43D5BFFC3B}" type="datetimeFigureOut">
              <a:rPr lang="en-US" smtClean="0"/>
              <a:t>2/10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6F95C16-7D9F-B24D-929D-2F4D68B8DA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8944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A4653ED-03D2-7542-AE1B-FB47779A335F}" type="datetimeFigureOut">
              <a:rPr lang="en-US" smtClean="0"/>
              <a:t>2/10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6AFAD0A-972D-3147-9D91-3BAFCEED8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102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27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53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80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07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33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60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87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13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9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3.xml"/><Relationship Id="rId7" Type="http://schemas.openxmlformats.org/officeDocument/2006/relationships/image" Target="../media/image6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3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13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3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13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13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3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4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5.png"/><Relationship Id="rId2" Type="http://schemas.openxmlformats.org/officeDocument/2006/relationships/tags" Target="../tags/tag8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6.png"/><Relationship Id="rId2" Type="http://schemas.openxmlformats.org/officeDocument/2006/relationships/tags" Target="../tags/tag8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5.png"/><Relationship Id="rId2" Type="http://schemas.openxmlformats.org/officeDocument/2006/relationships/tags" Target="../tags/tag8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4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5.png"/><Relationship Id="rId2" Type="http://schemas.openxmlformats.org/officeDocument/2006/relationships/tags" Target="../tags/tag9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4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5.png"/><Relationship Id="rId2" Type="http://schemas.openxmlformats.org/officeDocument/2006/relationships/tags" Target="../tags/tag9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14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9.jpeg"/><Relationship Id="rId2" Type="http://schemas.openxmlformats.org/officeDocument/2006/relationships/tags" Target="../tags/tag113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6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7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8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9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1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2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3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4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5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6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9.jpeg"/><Relationship Id="rId2" Type="http://schemas.openxmlformats.org/officeDocument/2006/relationships/tags" Target="../tags/tag126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8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9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1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2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4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5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6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7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9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0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1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9.jpeg"/><Relationship Id="rId2" Type="http://schemas.openxmlformats.org/officeDocument/2006/relationships/tags" Target="../tags/tag142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3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4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5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7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8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9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0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1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2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3.bin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4.xml"/><Relationship Id="rId7" Type="http://schemas.openxmlformats.org/officeDocument/2006/relationships/image" Target="../media/image21.jpeg"/><Relationship Id="rId2" Type="http://schemas.openxmlformats.org/officeDocument/2006/relationships/tags" Target="../tags/tag153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9.jpeg"/><Relationship Id="rId2" Type="http://schemas.openxmlformats.org/officeDocument/2006/relationships/tags" Target="../tags/tag15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6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7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8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9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0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2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3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4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5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6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7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8.bin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7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9.jpeg"/><Relationship Id="rId2" Type="http://schemas.openxmlformats.org/officeDocument/2006/relationships/tags" Target="../tags/tag17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0.bin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3.xml"/><Relationship Id="rId7" Type="http://schemas.openxmlformats.org/officeDocument/2006/relationships/image" Target="../media/image6.jpeg"/><Relationship Id="rId2" Type="http://schemas.openxmlformats.org/officeDocument/2006/relationships/tags" Target="../tags/tag172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174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3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13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13.png"/><Relationship Id="rId2" Type="http://schemas.openxmlformats.org/officeDocument/2006/relationships/tags" Target="../tags/tag180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13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3.png"/><Relationship Id="rId2" Type="http://schemas.openxmlformats.org/officeDocument/2006/relationships/tags" Target="../tags/tag184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18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7" Type="http://schemas.openxmlformats.org/officeDocument/2006/relationships/image" Target="../media/image13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18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14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8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5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1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6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18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15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18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14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18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15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18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14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18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5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8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18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18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9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1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8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18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18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9.jpeg"/><Relationship Id="rId2" Type="http://schemas.openxmlformats.org/officeDocument/2006/relationships/tags" Target="../tags/tag217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4.bin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9.xml"/><Relationship Id="rId7" Type="http://schemas.openxmlformats.org/officeDocument/2006/relationships/image" Target="../media/image6.jpeg"/><Relationship Id="rId2" Type="http://schemas.openxmlformats.org/officeDocument/2006/relationships/tags" Target="../tags/tag218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18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18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18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8.bin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7" Type="http://schemas.openxmlformats.org/officeDocument/2006/relationships/image" Target="../media/image13.png"/><Relationship Id="rId2" Type="http://schemas.openxmlformats.org/officeDocument/2006/relationships/tags" Target="../tags/tag225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1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3.png"/><Relationship Id="rId2" Type="http://schemas.openxmlformats.org/officeDocument/2006/relationships/tags" Target="../tags/tag227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1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3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1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7" Type="http://schemas.openxmlformats.org/officeDocument/2006/relationships/image" Target="../media/image13.png"/><Relationship Id="rId2" Type="http://schemas.openxmlformats.org/officeDocument/2006/relationships/tags" Target="../tags/tag231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1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7" Type="http://schemas.openxmlformats.org/officeDocument/2006/relationships/image" Target="../media/image13.png"/><Relationship Id="rId2" Type="http://schemas.openxmlformats.org/officeDocument/2006/relationships/tags" Target="../tags/tag23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1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7" Type="http://schemas.openxmlformats.org/officeDocument/2006/relationships/image" Target="../media/image13.png"/><Relationship Id="rId2" Type="http://schemas.openxmlformats.org/officeDocument/2006/relationships/tags" Target="../tags/tag235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image" Target="../media/image14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5.bin"/><Relationship Id="rId4" Type="http://schemas.openxmlformats.org/officeDocument/2006/relationships/slideMaster" Target="../slideMasters/slideMaster1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7" Type="http://schemas.openxmlformats.org/officeDocument/2006/relationships/image" Target="../media/image15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1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7" Type="http://schemas.openxmlformats.org/officeDocument/2006/relationships/image" Target="../media/image16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18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15.png"/><Relationship Id="rId2" Type="http://schemas.openxmlformats.org/officeDocument/2006/relationships/tags" Target="../tags/tag243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18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7" Type="http://schemas.openxmlformats.org/officeDocument/2006/relationships/image" Target="../media/image14.png"/><Relationship Id="rId2" Type="http://schemas.openxmlformats.org/officeDocument/2006/relationships/tags" Target="../tags/tag245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18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../media/image15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1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14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8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15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18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18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18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5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18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7" Type="http://schemas.openxmlformats.org/officeDocument/2006/relationships/image" Target="../media/image14.png"/><Relationship Id="rId2" Type="http://schemas.openxmlformats.org/officeDocument/2006/relationships/tags" Target="../tags/tag260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18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18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18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0.bin"/><Relationship Id="rId4" Type="http://schemas.openxmlformats.org/officeDocument/2006/relationships/slideMaster" Target="../slideMasters/slideMaster1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9.jpeg"/><Relationship Id="rId2" Type="http://schemas.openxmlformats.org/officeDocument/2006/relationships/tags" Target="../tags/tag269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2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3.bin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4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5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6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7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8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9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0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18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2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4.jpeg"/><Relationship Id="rId2" Type="http://schemas.openxmlformats.org/officeDocument/2006/relationships/tags" Target="../tags/tag281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4.bin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5.bin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6.bin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7.bin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8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0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1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2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3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4.bin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24.jpeg"/><Relationship Id="rId2" Type="http://schemas.openxmlformats.org/officeDocument/2006/relationships/tags" Target="../tags/tag293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2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6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7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8.bin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9.bin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0.bin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1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2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3.bin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4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5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6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4.jpeg"/><Relationship Id="rId2" Type="http://schemas.openxmlformats.org/officeDocument/2006/relationships/tags" Target="../tags/tag305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2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8.bin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9.bin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0.bin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1.bin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2.bin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3.bin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4.bin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2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5.bin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2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7.bin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2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8.bin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9.jpeg"/><Relationship Id="rId2" Type="http://schemas.openxmlformats.org/officeDocument/2006/relationships/tags" Target="../tags/tag317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0.bin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1.bin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2.bin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3.bin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5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6.bin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2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7.bin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2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8.bin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2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9.bin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2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0.bin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9.jpeg"/><Relationship Id="rId2" Type="http://schemas.openxmlformats.org/officeDocument/2006/relationships/tags" Target="../tags/tag329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2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4.bin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5.bin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6.bin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7.bin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8.bin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2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9.bin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2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0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2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1.bin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2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2.bin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9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.xml"/><Relationship Id="rId7" Type="http://schemas.openxmlformats.org/officeDocument/2006/relationships/image" Target="../media/image6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4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6" y="906466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3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275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5"/>
          <p:cNvSpPr>
            <a:spLocks noChangeShapeType="1"/>
          </p:cNvSpPr>
          <p:nvPr userDrawn="1"/>
        </p:nvSpPr>
        <p:spPr bwMode="gray">
          <a:xfrm>
            <a:off x="557948" y="679218"/>
            <a:ext cx="1113960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82" tIns="45690" rIns="91382" bIns="4569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4482" y="350115"/>
            <a:ext cx="11230029" cy="63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A307D-7663-40BE-AEAC-58931156E481}" type="slidenum">
              <a:rPr lang="en-US" altLang="es-MX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altLang="es-MX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6828786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4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99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5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10969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52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5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3585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5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769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5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581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6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248316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59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6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118499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2" name="Group 71"/>
          <p:cNvGrpSpPr/>
          <p:nvPr userDrawn="1"/>
        </p:nvGrpSpPr>
        <p:grpSpPr>
          <a:xfrm>
            <a:off x="2" y="6221395"/>
            <a:ext cx="12191999" cy="574391"/>
            <a:chOff x="0" y="6221393"/>
            <a:chExt cx="12191999" cy="574391"/>
          </a:xfrm>
        </p:grpSpPr>
        <p:pic>
          <p:nvPicPr>
            <p:cNvPr id="73" name="footer-13.jpg" descr="footer-13.jpg"/>
            <p:cNvPicPr>
              <a:picLocks noChangeAspect="1"/>
            </p:cNvPicPr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6221393"/>
              <a:ext cx="9906000" cy="574391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4" name="footer-13.jpg" descr="footer-13.jpg"/>
            <p:cNvPicPr>
              <a:picLocks noChangeAspect="1"/>
            </p:cNvPicPr>
            <p:nvPr userDrawn="1"/>
          </p:nvPicPr>
          <p:blipFill rotWithShape="1">
            <a:blip r:embed="rId7" cstate="print"/>
            <a:srcRect l="26342"/>
            <a:stretch/>
          </p:blipFill>
          <p:spPr>
            <a:xfrm>
              <a:off x="4895384" y="6221393"/>
              <a:ext cx="7296615" cy="57439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453896" y="722376"/>
            <a:ext cx="7251192" cy="649224"/>
          </a:xfrm>
          <a:prstGeom prst="rect">
            <a:avLst/>
          </a:prstGeom>
        </p:spPr>
        <p:txBody>
          <a:bodyPr lIns="36000" tIns="46800" rIns="36000" bIns="46800" anchor="ctr" anchorCtr="0">
            <a:normAutofit/>
          </a:bodyPr>
          <a:lstStyle>
            <a:lvl1pPr algn="l">
              <a:lnSpc>
                <a:spcPct val="93000"/>
              </a:lnSpc>
              <a:defRPr sz="3000" baseline="0">
                <a:solidFill>
                  <a:srgbClr val="86CBD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Presentación</a:t>
            </a:r>
            <a:endParaRPr lang="en-US" dirty="0"/>
          </a:p>
        </p:txBody>
      </p:sp>
      <p:sp>
        <p:nvSpPr>
          <p:cNvPr id="7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453896" y="2221992"/>
            <a:ext cx="8138160" cy="365760"/>
          </a:xfrm>
          <a:prstGeom prst="rect">
            <a:avLst/>
          </a:prstGeom>
        </p:spPr>
        <p:txBody>
          <a:bodyPr lIns="36000" tIns="46800" rIns="36000" bIns="46800" anchor="ctr"/>
          <a:lstStyle>
            <a:lvl1pPr marL="0" indent="0" algn="l">
              <a:lnSpc>
                <a:spcPct val="110000"/>
              </a:lnSpc>
              <a:buNone/>
              <a:defRPr sz="1350" b="1" baseline="0">
                <a:solidFill>
                  <a:srgbClr val="016AA1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453896" y="4983480"/>
            <a:ext cx="7589520" cy="365760"/>
          </a:xfrm>
          <a:prstGeom prst="rect">
            <a:avLst/>
          </a:prstGeom>
          <a:noFill/>
        </p:spPr>
        <p:txBody>
          <a:bodyPr lIns="36000" tIns="46800" rIns="36000" bIns="46800" anchor="ctr"/>
          <a:lstStyle>
            <a:lvl1pPr algn="l">
              <a:lnSpc>
                <a:spcPct val="110000"/>
              </a:lnSpc>
              <a:buNone/>
              <a:defRPr sz="1350" b="0" cap="none" baseline="0">
                <a:solidFill>
                  <a:srgbClr val="7C1A4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730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6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249299"/>
          </a:xfr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1" name="Picture 15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52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6" y="6545571"/>
            <a:ext cx="420925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9875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6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rgbClr val="73C4EF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51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0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7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444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83" b="31548"/>
          <a:stretch>
            <a:fillRect/>
          </a:stretch>
        </p:blipFill>
        <p:spPr bwMode="auto">
          <a:xfrm>
            <a:off x="7295581" y="5542984"/>
            <a:ext cx="4744433" cy="876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9" y="906466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9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6508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7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23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7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8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7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6276529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484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8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8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62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38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31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02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9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801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98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9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30"/>
            <a:ext cx="2694667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11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9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829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 userDrawn="1"/>
        </p:nvSpPr>
        <p:spPr bwMode="gray">
          <a:xfrm>
            <a:off x="557944" y="679218"/>
            <a:ext cx="1113960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6" tIns="45712" rIns="91426" bIns="45712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478" y="350113"/>
            <a:ext cx="11230029" cy="32910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819D7-74CB-4B65-9AC3-D4A2007CCA09}" type="slidenum">
              <a:rPr lang="en-US" altLang="es-MX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altLang="es-MX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42865994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9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7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23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0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7" y="358801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84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0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1" y="3407805"/>
            <a:ext cx="2694667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16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20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426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30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69" y="3407805"/>
            <a:ext cx="2694667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766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0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626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1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32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10969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36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1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2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9009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1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9436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798187"/>
            <a:ext cx="281940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rgbClr val="4472C4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1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5"/>
          <p:cNvSpPr>
            <a:spLocks noChangeShapeType="1"/>
          </p:cNvSpPr>
          <p:nvPr userDrawn="1"/>
        </p:nvSpPr>
        <p:spPr bwMode="gray">
          <a:xfrm>
            <a:off x="557944" y="679218"/>
            <a:ext cx="1113960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6" tIns="45712" rIns="91426" bIns="45712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4478" y="350113"/>
            <a:ext cx="11230029" cy="63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A307D-7663-40BE-AEAC-58931156E481}" type="slidenum">
              <a:rPr lang="en-US" altLang="es-MX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altLang="es-MX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58580488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2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75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2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13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2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248316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80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85112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396036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84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5315312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4549719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4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13629303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5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03078472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5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584364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83" b="31548"/>
          <a:stretch>
            <a:fillRect/>
          </a:stretch>
        </p:blipFill>
        <p:spPr bwMode="auto">
          <a:xfrm>
            <a:off x="7295577" y="5542981"/>
            <a:ext cx="4744433" cy="876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6" y="906466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6943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70689514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45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43384421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5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314147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66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91604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76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21787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86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9330158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42490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7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5" y="722376"/>
            <a:ext cx="8924544" cy="649224"/>
          </a:xfrm>
        </p:spPr>
        <p:txBody>
          <a:bodyPr lIns="49634" tIns="62045" rIns="49634" bIns="62045" anchor="ctr">
            <a:noAutofit/>
          </a:bodyPr>
          <a:lstStyle>
            <a:lvl1pPr>
              <a:defRPr sz="3797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797" dirty="0" err="1">
                <a:solidFill>
                  <a:srgbClr val="86CBD8"/>
                </a:solidFill>
              </a:rPr>
              <a:t>Título</a:t>
            </a:r>
            <a:r>
              <a:rPr lang="en-US" sz="3797" dirty="0">
                <a:solidFill>
                  <a:srgbClr val="86CBD8"/>
                </a:solidFill>
              </a:rPr>
              <a:t> </a:t>
            </a:r>
            <a:r>
              <a:rPr lang="en-US" sz="3797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3" y="2221992"/>
            <a:ext cx="10016196" cy="365760"/>
          </a:xfrm>
        </p:spPr>
        <p:txBody>
          <a:bodyPr lIns="49634" tIns="62045" rIns="49634" bIns="62045">
            <a:noAutofit/>
          </a:bodyPr>
          <a:lstStyle>
            <a:lvl1pPr>
              <a:defRPr sz="1687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49634" tIns="62045" rIns="49634" bIns="62045">
            <a:noAutofit/>
          </a:bodyPr>
          <a:lstStyle>
            <a:lvl1pPr>
              <a:defRPr sz="1687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2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0045043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7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3" y="98860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2715529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3" y="98859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6043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9" y="906468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4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5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90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7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3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99344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4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27757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5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68973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6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80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583514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78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15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15" y="1508761"/>
            <a:ext cx="11068060" cy="3997304"/>
          </a:xfrm>
        </p:spPr>
        <p:txBody>
          <a:bodyPr lIns="0" tIns="0" rIns="0" bIns="0"/>
          <a:lstStyle>
            <a:lvl1pPr>
              <a:spcBef>
                <a:spcPts val="366"/>
              </a:spcBef>
              <a:defRPr>
                <a:latin typeface="Arial"/>
                <a:sym typeface="Arial"/>
              </a:defRPr>
            </a:lvl1pPr>
            <a:lvl2pPr marL="436235" indent="-219835">
              <a:spcBef>
                <a:spcPts val="366"/>
              </a:spcBef>
              <a:defRPr>
                <a:latin typeface="Arial"/>
                <a:sym typeface="Arial"/>
              </a:defRPr>
            </a:lvl2pPr>
            <a:lvl3pPr marL="872470" indent="-219835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312141" indent="-223271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64776" indent="-219835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5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293570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89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15" y="1508401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64877" indent="-164877">
              <a:spcBef>
                <a:spcPts val="366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601111" indent="-219835">
              <a:spcBef>
                <a:spcPts val="366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1027044" indent="-219835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473583" indent="-219835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64776" indent="-219835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15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5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190837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9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15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5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897710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9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2531347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6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19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6" y="159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77" y="1509715"/>
            <a:ext cx="11032068" cy="4613275"/>
          </a:xfrm>
          <a:prstGeom prst="rect">
            <a:avLst/>
          </a:prstGeom>
        </p:spPr>
        <p:txBody>
          <a:bodyPr/>
          <a:lstStyle>
            <a:lvl2pPr marL="437751" indent="-212060">
              <a:defRPr/>
            </a:lvl2pPr>
            <a:lvl3pPr marL="863383" indent="-201456">
              <a:defRPr/>
            </a:lvl3pPr>
            <a:lvl4pPr marL="1305677" indent="-207516"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Line 3"/>
          <p:cNvSpPr>
            <a:spLocks noChangeShapeType="1"/>
          </p:cNvSpPr>
          <p:nvPr userDrawn="1"/>
        </p:nvSpPr>
        <p:spPr bwMode="gray">
          <a:xfrm>
            <a:off x="585226" y="996696"/>
            <a:ext cx="11033759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lIns="87250" tIns="43625" rIns="87250" bIns="43625" anchor="ctr"/>
          <a:lstStyle/>
          <a:p>
            <a:pPr algn="ctr" defTabSz="872470">
              <a:defRPr/>
            </a:pPr>
            <a:endParaRPr lang="en-US" sz="1336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Title Placeholder 9"/>
          <p:cNvSpPr>
            <a:spLocks noGrp="1"/>
          </p:cNvSpPr>
          <p:nvPr>
            <p:ph type="title"/>
          </p:nvPr>
        </p:nvSpPr>
        <p:spPr>
          <a:xfrm>
            <a:off x="585216" y="152408"/>
            <a:ext cx="11033760" cy="80962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011513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0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525936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1844258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 cop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3" descr="Picture 3"/>
          <p:cNvPicPr>
            <a:picLocks noChangeAspect="1"/>
          </p:cNvPicPr>
          <p:nvPr/>
        </p:nvPicPr>
        <p:blipFill>
          <a:blip r:embed="rId2"/>
          <a:srcRect l="12" r="55235"/>
          <a:stretch>
            <a:fillRect/>
          </a:stretch>
        </p:blipFill>
        <p:spPr>
          <a:xfrm>
            <a:off x="2093" y="0"/>
            <a:ext cx="726913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75" name="Picture 3" descr="Picture 3"/>
          <p:cNvPicPr>
            <a:picLocks noChangeAspect="1"/>
          </p:cNvPicPr>
          <p:nvPr/>
        </p:nvPicPr>
        <p:blipFill>
          <a:blip r:embed="rId2"/>
          <a:srcRect l="59142"/>
          <a:stretch>
            <a:fillRect/>
          </a:stretch>
        </p:blipFill>
        <p:spPr>
          <a:xfrm>
            <a:off x="5558685" y="0"/>
            <a:ext cx="6636572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7904019" y="4328137"/>
            <a:ext cx="287488" cy="282359"/>
          </a:xfrm>
          <a:prstGeom prst="rect">
            <a:avLst/>
          </a:prstGeom>
        </p:spPr>
        <p:txBody>
          <a:bodyPr lIns="124130" tIns="62065" rIns="124130" bIns="62065"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2890084"/>
      </p:ext>
    </p:extLst>
  </p:cSld>
  <p:clrMapOvr>
    <a:masterClrMapping/>
  </p:clrMapOvr>
  <p:transition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6"/>
            <a:ext cx="10947400" cy="5175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3573" y="5695406"/>
            <a:ext cx="3557543" cy="62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158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218740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2661158"/>
            <a:ext cx="9296400" cy="574773"/>
          </a:xfrm>
        </p:spPr>
        <p:txBody>
          <a:bodyPr wrap="square">
            <a:spAutoFit/>
          </a:bodyPr>
          <a:lstStyle>
            <a:lvl1pPr marL="0" indent="0">
              <a:buNone/>
              <a:defRPr sz="3300" b="1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47800" y="3556508"/>
            <a:ext cx="9296400" cy="487056"/>
          </a:xfrm>
        </p:spPr>
        <p:txBody>
          <a:bodyPr wrap="square">
            <a:spAutoFit/>
          </a:bodyPr>
          <a:lstStyle>
            <a:lvl1pPr marL="0" indent="0">
              <a:buNone/>
              <a:defRPr sz="2700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75352505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572" y="249010"/>
            <a:ext cx="11541581" cy="4953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573" y="1320800"/>
            <a:ext cx="11541580" cy="4946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571" y="631011"/>
            <a:ext cx="11541155" cy="30003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MX" dirty="0" err="1"/>
              <a:t>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26541983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4333" y="1320800"/>
            <a:ext cx="5429251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6786" y="1320800"/>
            <a:ext cx="5431367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598921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15480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6823268" cy="48828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514350" rtl="0" eaLnBrk="1" fontAlgn="base" latinLnBrk="0" hangingPunct="1">
              <a:lnSpc>
                <a:spcPct val="100000"/>
              </a:lnSpc>
              <a:spcBef>
                <a:spcPts val="1238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98227" marR="0" indent="-97334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81"/>
            <a:ext cx="1110691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5143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66799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686" y="122241"/>
            <a:ext cx="11332633" cy="4270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29686" y="698957"/>
            <a:ext cx="11332633" cy="24583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050"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3146261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6"/>
            <a:ext cx="10947400" cy="5175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3573" y="5695406"/>
            <a:ext cx="3557543" cy="62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646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537402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84272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2661158"/>
            <a:ext cx="9296400" cy="574773"/>
          </a:xfrm>
        </p:spPr>
        <p:txBody>
          <a:bodyPr wrap="square">
            <a:spAutoFit/>
          </a:bodyPr>
          <a:lstStyle>
            <a:lvl1pPr marL="0" indent="0">
              <a:buNone/>
              <a:defRPr sz="3300" b="1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47800" y="3556508"/>
            <a:ext cx="9296400" cy="487056"/>
          </a:xfrm>
        </p:spPr>
        <p:txBody>
          <a:bodyPr wrap="square">
            <a:spAutoFit/>
          </a:bodyPr>
          <a:lstStyle>
            <a:lvl1pPr marL="0" indent="0">
              <a:buNone/>
              <a:defRPr sz="2700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04519775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572" y="249010"/>
            <a:ext cx="11541581" cy="4953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573" y="1320800"/>
            <a:ext cx="11541580" cy="4946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571" y="631011"/>
            <a:ext cx="11541155" cy="30003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MX" dirty="0" err="1"/>
              <a:t>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57468432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4333" y="1320800"/>
            <a:ext cx="5429251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6786" y="1320800"/>
            <a:ext cx="5431367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232689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981875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6823268" cy="48828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514350" rtl="0" eaLnBrk="1" fontAlgn="base" latinLnBrk="0" hangingPunct="1">
              <a:lnSpc>
                <a:spcPct val="100000"/>
              </a:lnSpc>
              <a:spcBef>
                <a:spcPts val="1238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98227" marR="0" indent="-97334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81"/>
            <a:ext cx="1110691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5143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27823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686" y="122241"/>
            <a:ext cx="11332633" cy="4270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29686" y="698957"/>
            <a:ext cx="11332633" cy="24583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050"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82732009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136305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628362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6"/>
            <a:ext cx="10947400" cy="5175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3573" y="5695406"/>
            <a:ext cx="3557543" cy="62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19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7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6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1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79075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613771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2661158"/>
            <a:ext cx="9296400" cy="574773"/>
          </a:xfrm>
        </p:spPr>
        <p:txBody>
          <a:bodyPr wrap="square">
            <a:spAutoFit/>
          </a:bodyPr>
          <a:lstStyle>
            <a:lvl1pPr marL="0" indent="0">
              <a:buNone/>
              <a:defRPr sz="3300" b="1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47800" y="3556508"/>
            <a:ext cx="9296400" cy="487056"/>
          </a:xfrm>
        </p:spPr>
        <p:txBody>
          <a:bodyPr wrap="square">
            <a:spAutoFit/>
          </a:bodyPr>
          <a:lstStyle>
            <a:lvl1pPr marL="0" indent="0">
              <a:buNone/>
              <a:defRPr sz="2700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66306681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572" y="249010"/>
            <a:ext cx="11541581" cy="4953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573" y="1320800"/>
            <a:ext cx="11541580" cy="4946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571" y="631011"/>
            <a:ext cx="11541155" cy="30003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MX" dirty="0" err="1"/>
              <a:t>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84614797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4333" y="1320800"/>
            <a:ext cx="5429251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6786" y="1320800"/>
            <a:ext cx="5431367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85721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174760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6823268" cy="48828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514350" rtl="0" eaLnBrk="1" fontAlgn="base" latinLnBrk="0" hangingPunct="1">
              <a:lnSpc>
                <a:spcPct val="100000"/>
              </a:lnSpc>
              <a:spcBef>
                <a:spcPts val="1238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98227" marR="0" indent="-97334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81"/>
            <a:ext cx="1110691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5143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3066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686" y="122241"/>
            <a:ext cx="11332633" cy="4270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29686" y="698957"/>
            <a:ext cx="11332633" cy="24583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050"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0158964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490797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739329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d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731" y="21107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3" y="98856"/>
            <a:ext cx="1206483" cy="6105595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4935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s-ES_tradnl" sz="2400">
              <a:solidFill>
                <a:srgbClr val="002D72"/>
              </a:solidFill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14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707290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31503" y="98855"/>
            <a:ext cx="1206483" cy="6105595"/>
            <a:chOff x="160238" y="162796"/>
            <a:chExt cx="1300907" cy="8777933"/>
          </a:xfrm>
        </p:grpSpPr>
        <p:sp>
          <p:nvSpPr>
            <p:cNvPr id="15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474511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3" y="99934"/>
            <a:ext cx="1206483" cy="6105588"/>
            <a:chOff x="90616" y="113613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419473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6" y="99934"/>
            <a:ext cx="1206481" cy="6105588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455739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4" y="99934"/>
            <a:ext cx="1206481" cy="6105588"/>
            <a:chOff x="1081465" y="114688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93253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" y="0"/>
            <a:ext cx="120931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057376" y="6356356"/>
            <a:ext cx="3319272" cy="365125"/>
          </a:xfrm>
          <a:prstGeom prst="rect">
            <a:avLst/>
          </a:prstGeom>
        </p:spPr>
        <p:txBody>
          <a:bodyPr vert="horz" lIns="91426" tIns="45712" rIns="91426" bIns="4571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asted-image.pdf" descr="pasted-image.pd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794" y="6356356"/>
            <a:ext cx="736953" cy="3651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14" y="6480627"/>
            <a:ext cx="1561852" cy="20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93728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73" y="1508401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64376" indent="-164376">
              <a:spcBef>
                <a:spcPts val="366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99263" indent="-219163">
              <a:spcBef>
                <a:spcPts val="366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1023900" indent="-219163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469054" indent="-219163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58743" indent="-219163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73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73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3057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5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000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000" dirty="0" err="1">
                <a:solidFill>
                  <a:srgbClr val="86CBD8"/>
                </a:solidFill>
              </a:rPr>
              <a:t>Título</a:t>
            </a:r>
            <a:r>
              <a:rPr lang="en-US" sz="3000" dirty="0">
                <a:solidFill>
                  <a:srgbClr val="86CBD8"/>
                </a:solidFill>
              </a:rPr>
              <a:t> </a:t>
            </a:r>
            <a:r>
              <a:rPr lang="en-US" sz="3000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350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350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4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691720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8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6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5350444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8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5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86841459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8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422509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696178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73" y="1597949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defTabSz="91440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defTabSz="91440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57" y="-37908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14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38054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8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40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409499066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294007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9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81" y="98854"/>
            <a:ext cx="1111927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001788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9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288"/>
              </a:spcBef>
              <a:defRPr>
                <a:latin typeface="Arial"/>
                <a:sym typeface="Arial"/>
              </a:defRPr>
            </a:lvl1pPr>
            <a:lvl2pPr marL="342900" indent="-172800">
              <a:spcBef>
                <a:spcPts val="288"/>
              </a:spcBef>
              <a:defRPr>
                <a:latin typeface="Arial"/>
                <a:sym typeface="Arial"/>
              </a:defRPr>
            </a:lvl2pPr>
            <a:lvl3pPr marL="685800" indent="-172800">
              <a:spcBef>
                <a:spcPts val="288"/>
              </a:spcBef>
              <a:defRPr>
                <a:latin typeface="Arial"/>
                <a:sym typeface="Arial"/>
              </a:defRPr>
            </a:lvl3pPr>
            <a:lvl4pPr marL="1031400" indent="-175500">
              <a:spcBef>
                <a:spcPts val="288"/>
              </a:spcBef>
              <a:defRPr>
                <a:latin typeface="Arial"/>
                <a:sym typeface="Arial"/>
              </a:defRPr>
            </a:lvl4pPr>
            <a:lvl5pPr marL="1544400" indent="-172800">
              <a:spcBef>
                <a:spcPts val="288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12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53920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29600" indent="-129600">
              <a:spcBef>
                <a:spcPts val="288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472500" indent="-172800">
              <a:spcBef>
                <a:spcPts val="288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807300" indent="-172800">
              <a:spcBef>
                <a:spcPts val="288"/>
              </a:spcBef>
              <a:defRPr>
                <a:latin typeface="Arial"/>
                <a:sym typeface="Arial"/>
              </a:defRPr>
            </a:lvl3pPr>
            <a:lvl4pPr marL="1158300" indent="-172800">
              <a:spcBef>
                <a:spcPts val="288"/>
              </a:spcBef>
              <a:defRPr>
                <a:latin typeface="Arial"/>
                <a:sym typeface="Arial"/>
              </a:defRPr>
            </a:lvl4pPr>
            <a:lvl5pPr marL="1544400" indent="-172800">
              <a:spcBef>
                <a:spcPts val="288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12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683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12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598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0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6849351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0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3" y="3941382"/>
            <a:ext cx="5133975" cy="591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66"/>
              </a:spcAft>
            </a:pPr>
            <a:r>
              <a:rPr lang="en-US" sz="427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5136770"/>
            <a:ext cx="2743200" cy="5918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366"/>
              </a:spcAft>
            </a:pPr>
            <a:r>
              <a:rPr lang="fr-FR" sz="42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71204 - MX2020 KPI Structure v4.pptx</a:t>
            </a:r>
            <a:endParaRPr lang="en-US" sz="427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200" cy="287002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072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01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7" y="6545571"/>
            <a:ext cx="420927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1955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246855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d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731" y="21107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3" y="98856"/>
            <a:ext cx="1206483" cy="6105595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6814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5" y="234065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73" y="411960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73" y="905249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471364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31503" y="98855"/>
            <a:ext cx="1206483" cy="6105595"/>
            <a:chOff x="160238" y="162796"/>
            <a:chExt cx="1300907" cy="8777933"/>
          </a:xfrm>
        </p:grpSpPr>
        <p:sp>
          <p:nvSpPr>
            <p:cNvPr id="15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507764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3" y="99934"/>
            <a:ext cx="1206483" cy="6105588"/>
            <a:chOff x="90616" y="113613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948682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4" y="99934"/>
            <a:ext cx="1206481" cy="6105588"/>
            <a:chOff x="1081465" y="114688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957775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" y="0"/>
            <a:ext cx="120931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057376" y="6356356"/>
            <a:ext cx="3319272" cy="365125"/>
          </a:xfrm>
          <a:prstGeom prst="rect">
            <a:avLst/>
          </a:prstGeom>
        </p:spPr>
        <p:txBody>
          <a:bodyPr vert="horz" lIns="91426" tIns="45712" rIns="91426" bIns="4571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asted-image.pdf" descr="pasted-image.pd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794" y="6356356"/>
            <a:ext cx="736953" cy="3651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14" y="6480627"/>
            <a:ext cx="1561852" cy="20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1413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5" y="722376"/>
            <a:ext cx="8924544" cy="649224"/>
          </a:xfrm>
        </p:spPr>
        <p:txBody>
          <a:bodyPr lIns="49455" tIns="61853" rIns="49455" bIns="61853" anchor="ctr">
            <a:noAutofit/>
          </a:bodyPr>
          <a:lstStyle>
            <a:lvl1pPr>
              <a:defRPr sz="3797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797" dirty="0" err="1">
                <a:solidFill>
                  <a:srgbClr val="86CBD8"/>
                </a:solidFill>
              </a:rPr>
              <a:t>Título</a:t>
            </a:r>
            <a:r>
              <a:rPr lang="en-US" sz="3797" dirty="0">
                <a:solidFill>
                  <a:srgbClr val="86CBD8"/>
                </a:solidFill>
              </a:rPr>
              <a:t> </a:t>
            </a:r>
            <a:r>
              <a:rPr lang="en-US" sz="3797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3" y="2221992"/>
            <a:ext cx="10016196" cy="365760"/>
          </a:xfrm>
        </p:spPr>
        <p:txBody>
          <a:bodyPr lIns="49455" tIns="61853" rIns="49455" bIns="61853">
            <a:noAutofit/>
          </a:bodyPr>
          <a:lstStyle>
            <a:lvl1pPr>
              <a:defRPr sz="1687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49455" tIns="61853" rIns="49455" bIns="61853">
            <a:noAutofit/>
          </a:bodyPr>
          <a:lstStyle>
            <a:lvl1pPr>
              <a:defRPr sz="1687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2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5664828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3" y="98907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6304786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3" y="98906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12947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3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324859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646201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500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57" y="-37908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70" y="1308578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63419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80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960647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73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73" y="1508761"/>
            <a:ext cx="11068060" cy="3997304"/>
          </a:xfrm>
        </p:spPr>
        <p:txBody>
          <a:bodyPr lIns="0" tIns="0" rIns="0" bIns="0"/>
          <a:lstStyle>
            <a:lvl1pPr>
              <a:spcBef>
                <a:spcPts val="366"/>
              </a:spcBef>
              <a:defRPr>
                <a:latin typeface="Arial"/>
                <a:sym typeface="Arial"/>
              </a:defRPr>
            </a:lvl1pPr>
            <a:lvl2pPr marL="434889" indent="-219163">
              <a:spcBef>
                <a:spcPts val="366"/>
              </a:spcBef>
              <a:defRPr>
                <a:latin typeface="Arial"/>
                <a:sym typeface="Arial"/>
              </a:defRPr>
            </a:lvl2pPr>
            <a:lvl3pPr marL="869793" indent="-219163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308106" indent="-222585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58743" indent="-219163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73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31348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73" y="1508401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64376" indent="-164376">
              <a:spcBef>
                <a:spcPts val="366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99263" indent="-219163">
              <a:spcBef>
                <a:spcPts val="366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1023900" indent="-219163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469054" indent="-219163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58743" indent="-219163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73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73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45167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73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73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38322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73609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83" y="164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3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83" y="164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80033" y="1509715"/>
            <a:ext cx="11032068" cy="4613275"/>
          </a:xfrm>
          <a:prstGeom prst="rect">
            <a:avLst/>
          </a:prstGeom>
        </p:spPr>
        <p:txBody>
          <a:bodyPr/>
          <a:lstStyle>
            <a:lvl2pPr marL="436405" indent="-211430">
              <a:defRPr/>
            </a:lvl2pPr>
            <a:lvl3pPr marL="860734" indent="-200829">
              <a:defRPr/>
            </a:lvl3pPr>
            <a:lvl4pPr marL="1301662" indent="-206889"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Line 3"/>
          <p:cNvSpPr>
            <a:spLocks noChangeShapeType="1"/>
          </p:cNvSpPr>
          <p:nvPr userDrawn="1"/>
        </p:nvSpPr>
        <p:spPr bwMode="gray">
          <a:xfrm>
            <a:off x="585285" y="996696"/>
            <a:ext cx="11033759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lIns="86981" tIns="43490" rIns="86981" bIns="43490" anchor="ctr"/>
          <a:lstStyle/>
          <a:p>
            <a:pPr algn="ctr" defTabSz="869793">
              <a:defRPr/>
            </a:pPr>
            <a:endParaRPr lang="en-US" sz="1336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Title Placeholder 9"/>
          <p:cNvSpPr>
            <a:spLocks noGrp="1"/>
          </p:cNvSpPr>
          <p:nvPr>
            <p:ph type="title"/>
          </p:nvPr>
        </p:nvSpPr>
        <p:spPr>
          <a:xfrm>
            <a:off x="585216" y="152455"/>
            <a:ext cx="11033760" cy="80962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31935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4" name="Rectangle 3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21880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 cop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3" descr="Picture 3"/>
          <p:cNvPicPr>
            <a:picLocks noChangeAspect="1"/>
          </p:cNvPicPr>
          <p:nvPr/>
        </p:nvPicPr>
        <p:blipFill>
          <a:blip r:embed="rId2"/>
          <a:srcRect l="12" r="55235"/>
          <a:stretch>
            <a:fillRect/>
          </a:stretch>
        </p:blipFill>
        <p:spPr>
          <a:xfrm>
            <a:off x="2093" y="0"/>
            <a:ext cx="726913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75" name="Picture 3" descr="Picture 3"/>
          <p:cNvPicPr>
            <a:picLocks noChangeAspect="1"/>
          </p:cNvPicPr>
          <p:nvPr/>
        </p:nvPicPr>
        <p:blipFill>
          <a:blip r:embed="rId2"/>
          <a:srcRect l="59142"/>
          <a:stretch>
            <a:fillRect/>
          </a:stretch>
        </p:blipFill>
        <p:spPr>
          <a:xfrm>
            <a:off x="5558685" y="0"/>
            <a:ext cx="6636572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7904019" y="4328137"/>
            <a:ext cx="287488" cy="282359"/>
          </a:xfrm>
          <a:prstGeom prst="rect">
            <a:avLst/>
          </a:prstGeom>
        </p:spPr>
        <p:txBody>
          <a:bodyPr lIns="124130" tIns="62065" rIns="124130" bIns="62065"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07460615"/>
      </p:ext>
    </p:extLst>
  </p:cSld>
  <p:clrMapOvr>
    <a:masterClrMapping/>
  </p:clrMapOvr>
  <p:transition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7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118498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" name="Group 2"/>
          <p:cNvGrpSpPr/>
          <p:nvPr userDrawn="1"/>
        </p:nvGrpSpPr>
        <p:grpSpPr>
          <a:xfrm>
            <a:off x="0" y="6221393"/>
            <a:ext cx="12191999" cy="574391"/>
            <a:chOff x="0" y="6221393"/>
            <a:chExt cx="12191999" cy="574391"/>
          </a:xfrm>
        </p:grpSpPr>
        <p:pic>
          <p:nvPicPr>
            <p:cNvPr id="71" name="footer-13.jpg" descr="footer-13.jpg"/>
            <p:cNvPicPr>
              <a:picLocks noChangeAspect="1"/>
            </p:cNvPicPr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6221393"/>
              <a:ext cx="9906000" cy="574391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2" name="footer-13.jpg" descr="footer-13.jpg"/>
            <p:cNvPicPr>
              <a:picLocks noChangeAspect="1"/>
            </p:cNvPicPr>
            <p:nvPr userDrawn="1"/>
          </p:nvPicPr>
          <p:blipFill rotWithShape="1">
            <a:blip r:embed="rId7" cstate="print"/>
            <a:srcRect l="26342"/>
            <a:stretch/>
          </p:blipFill>
          <p:spPr>
            <a:xfrm>
              <a:off x="4895384" y="6221393"/>
              <a:ext cx="7296615" cy="57439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453896" y="722376"/>
            <a:ext cx="7251192" cy="649224"/>
          </a:xfrm>
          <a:prstGeom prst="rect">
            <a:avLst/>
          </a:prstGeom>
        </p:spPr>
        <p:txBody>
          <a:bodyPr lIns="36000" tIns="46800" rIns="36000" bIns="46800" anchor="ctr" anchorCtr="0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rgbClr val="86CBD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Presentación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453896" y="2221992"/>
            <a:ext cx="8138160" cy="365760"/>
          </a:xfrm>
          <a:prstGeom prst="rect">
            <a:avLst/>
          </a:prstGeom>
        </p:spPr>
        <p:txBody>
          <a:bodyPr lIns="36000" tIns="46800" rIns="36000" bIns="46800" anchor="ctr"/>
          <a:lstStyle>
            <a:lvl1pPr marL="0" indent="0" algn="l">
              <a:lnSpc>
                <a:spcPct val="110000"/>
              </a:lnSpc>
              <a:buNone/>
              <a:defRPr sz="1800" b="1" baseline="0">
                <a:solidFill>
                  <a:srgbClr val="016AA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453896" y="4983480"/>
            <a:ext cx="7589520" cy="365760"/>
          </a:xfrm>
          <a:prstGeom prst="rect">
            <a:avLst/>
          </a:prstGeom>
          <a:noFill/>
        </p:spPr>
        <p:txBody>
          <a:bodyPr lIns="36000" tIns="46800" rIns="36000" bIns="46800" anchor="ctr"/>
          <a:lstStyle>
            <a:lvl1pPr algn="l">
              <a:lnSpc>
                <a:spcPct val="110000"/>
              </a:lnSpc>
              <a:buNone/>
              <a:defRPr sz="1800" b="0" cap="none" baseline="0">
                <a:solidFill>
                  <a:srgbClr val="7C1A4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489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7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01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6" y="6545571"/>
            <a:ext cx="420925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217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5" y="906468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3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0355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4472C4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10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7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36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7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404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8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67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8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62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8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8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8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0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9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46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9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4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9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95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5781332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9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5767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05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0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64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0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569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0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124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92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1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31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1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67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1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36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2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837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074605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2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04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2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77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2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81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2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118498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2" name="Group 71"/>
          <p:cNvGrpSpPr/>
          <p:nvPr userDrawn="1"/>
        </p:nvGrpSpPr>
        <p:grpSpPr>
          <a:xfrm>
            <a:off x="0" y="6221393"/>
            <a:ext cx="12191999" cy="574391"/>
            <a:chOff x="0" y="6221393"/>
            <a:chExt cx="12191999" cy="574391"/>
          </a:xfrm>
        </p:grpSpPr>
        <p:pic>
          <p:nvPicPr>
            <p:cNvPr id="73" name="footer-13.jpg" descr="footer-13.jpg"/>
            <p:cNvPicPr>
              <a:picLocks noChangeAspect="1"/>
            </p:cNvPicPr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6221393"/>
              <a:ext cx="9906000" cy="574391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4" name="footer-13.jpg" descr="footer-13.jpg"/>
            <p:cNvPicPr>
              <a:picLocks noChangeAspect="1"/>
            </p:cNvPicPr>
            <p:nvPr userDrawn="1"/>
          </p:nvPicPr>
          <p:blipFill rotWithShape="1">
            <a:blip r:embed="rId7" cstate="print"/>
            <a:srcRect l="26342"/>
            <a:stretch/>
          </p:blipFill>
          <p:spPr>
            <a:xfrm>
              <a:off x="4895384" y="6221393"/>
              <a:ext cx="7296615" cy="57439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453896" y="722376"/>
            <a:ext cx="7251192" cy="649224"/>
          </a:xfrm>
          <a:prstGeom prst="rect">
            <a:avLst/>
          </a:prstGeom>
        </p:spPr>
        <p:txBody>
          <a:bodyPr lIns="36000" tIns="46800" rIns="36000" bIns="46800" anchor="ctr" anchorCtr="0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rgbClr val="86CBD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Presentación</a:t>
            </a:r>
            <a:endParaRPr lang="en-US" dirty="0"/>
          </a:p>
        </p:txBody>
      </p:sp>
      <p:sp>
        <p:nvSpPr>
          <p:cNvPr id="7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453896" y="2221992"/>
            <a:ext cx="8138160" cy="365760"/>
          </a:xfrm>
          <a:prstGeom prst="rect">
            <a:avLst/>
          </a:prstGeom>
        </p:spPr>
        <p:txBody>
          <a:bodyPr lIns="36000" tIns="46800" rIns="36000" bIns="46800" anchor="ctr"/>
          <a:lstStyle>
            <a:lvl1pPr marL="0" indent="0" algn="l">
              <a:lnSpc>
                <a:spcPct val="110000"/>
              </a:lnSpc>
              <a:buNone/>
              <a:defRPr sz="1800" b="1" baseline="0">
                <a:solidFill>
                  <a:srgbClr val="016AA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453896" y="4983480"/>
            <a:ext cx="7589520" cy="365760"/>
          </a:xfrm>
          <a:prstGeom prst="rect">
            <a:avLst/>
          </a:prstGeom>
          <a:noFill/>
        </p:spPr>
        <p:txBody>
          <a:bodyPr lIns="36000" tIns="46800" rIns="36000" bIns="46800" anchor="ctr"/>
          <a:lstStyle>
            <a:lvl1pPr algn="l">
              <a:lnSpc>
                <a:spcPct val="110000"/>
              </a:lnSpc>
              <a:buNone/>
              <a:defRPr sz="1800" b="0" cap="none" baseline="0">
                <a:solidFill>
                  <a:srgbClr val="7C1A4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21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3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1" name="Picture 15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52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6" y="6545571"/>
            <a:ext cx="420925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3541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3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73C4EF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261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3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91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3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892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4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626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4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32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7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2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1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1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93327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4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49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4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28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51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5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15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5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437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5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49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6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27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6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12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6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6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40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s-ES_tradnl" sz="2400">
              <a:solidFill>
                <a:srgbClr val="002D72"/>
              </a:solidFill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10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165167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7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642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7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49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91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7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237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8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07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8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30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8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4472C4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91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8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1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8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30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9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50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69" y="1597949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defTabSz="91440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defTabSz="91440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59" y="-37908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10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25422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6596116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2402517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5812108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5328854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77700001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51945293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423724175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56454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7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67616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5908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5" y="234065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69" y="411960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69" y="905249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883802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8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218210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417624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730716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091137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8585870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98525880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39899159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21771571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3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80407607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4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92733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966230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59" y="-37908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7" y="1308578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11158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40731733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13615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47687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30799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292635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574587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450926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034930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34434" y="6440489"/>
            <a:ext cx="461433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87"/>
          <p:cNvSpPr>
            <a:spLocks noGrp="1" noChangeArrowheads="1"/>
          </p:cNvSpPr>
          <p:nvPr>
            <p:ph type="dt" sz="half" idx="11"/>
          </p:nvPr>
        </p:nvSpPr>
        <p:spPr>
          <a:xfrm>
            <a:off x="804333" y="6440489"/>
            <a:ext cx="1422400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M.DD.YY</a:t>
            </a: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xfrm>
            <a:off x="2781300" y="6440489"/>
            <a:ext cx="5427133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8225484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359221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6" y="99934"/>
            <a:ext cx="1206481" cy="6105588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510469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2560650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86826318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7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61308333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84135402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41147066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522739906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8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046359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99346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9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58501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9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39058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5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575042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113481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4155801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0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7188396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223502455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88543147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417730278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38067361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88080057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96061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1181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9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4000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4000" dirty="0" err="1">
                <a:solidFill>
                  <a:srgbClr val="86CBD8"/>
                </a:solidFill>
              </a:rPr>
              <a:t>Título</a:t>
            </a:r>
            <a:r>
              <a:rPr lang="en-US" sz="4000" dirty="0">
                <a:solidFill>
                  <a:srgbClr val="86CBD8"/>
                </a:solidFill>
              </a:rPr>
              <a:t> </a:t>
            </a:r>
            <a:r>
              <a:rPr lang="en-US" sz="4000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800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3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800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5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540725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01561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8662280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098265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084154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1442052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5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0623382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6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8866477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6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41110485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86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79683128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6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8800230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61955913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7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941576596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17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686722913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27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79513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7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52657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726749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3205462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10835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290433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78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1780717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8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022872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0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5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231235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8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85604029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9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83935320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9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47702515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9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80239235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7221507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18579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205475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92437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301476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340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0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965984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021766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" y="0"/>
            <a:ext cx="120931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057376" y="6356356"/>
            <a:ext cx="3319272" cy="365125"/>
          </a:xfrm>
          <a:prstGeom prst="rect">
            <a:avLst/>
          </a:prstGeom>
        </p:spPr>
        <p:txBody>
          <a:bodyPr vert="horz" lIns="91426" tIns="45712" rIns="91426" bIns="4571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asted-image.pdf" descr="pasted-image.pd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794" y="6356356"/>
            <a:ext cx="736953" cy="3651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14" y="6480627"/>
            <a:ext cx="1561852" cy="20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641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0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91169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49440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0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3980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6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3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2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1629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10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10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84"/>
              </a:spcBef>
              <a:defRPr>
                <a:latin typeface="Arial"/>
                <a:sym typeface="Arial"/>
              </a:defRPr>
            </a:lvl1pPr>
            <a:lvl2pPr marL="457200" indent="-230400">
              <a:spcBef>
                <a:spcPts val="384"/>
              </a:spcBef>
              <a:defRPr>
                <a:latin typeface="Arial"/>
                <a:sym typeface="Arial"/>
              </a:defRPr>
            </a:lvl2pPr>
            <a:lvl3pPr marL="914400" indent="-230400">
              <a:spcBef>
                <a:spcPts val="384"/>
              </a:spcBef>
              <a:defRPr>
                <a:latin typeface="Arial"/>
                <a:sym typeface="Arial"/>
              </a:defRPr>
            </a:lvl3pPr>
            <a:lvl4pPr marL="1375200" indent="-234000">
              <a:spcBef>
                <a:spcPts val="384"/>
              </a:spcBef>
              <a:defRPr>
                <a:latin typeface="Arial"/>
                <a:sym typeface="Arial"/>
              </a:defRPr>
            </a:lvl4pPr>
            <a:lvl5pPr marL="2059200" indent="-230400">
              <a:spcBef>
                <a:spcPts val="38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0" y="863601"/>
            <a:ext cx="11068060" cy="320359"/>
          </a:xfrm>
        </p:spPr>
        <p:txBody>
          <a:bodyPr anchor="t">
            <a:normAutofit/>
          </a:bodyPr>
          <a:lstStyle>
            <a:lvl1pPr>
              <a:defRPr sz="1500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7525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1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10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1076400" indent="-230400">
              <a:spcBef>
                <a:spcPts val="384"/>
              </a:spcBef>
              <a:defRPr>
                <a:latin typeface="Arial"/>
                <a:sym typeface="Arial"/>
              </a:defRPr>
            </a:lvl3pPr>
            <a:lvl4pPr marL="1544400" indent="-230400">
              <a:spcBef>
                <a:spcPts val="384"/>
              </a:spcBef>
              <a:defRPr>
                <a:latin typeface="Arial"/>
                <a:sym typeface="Arial"/>
              </a:defRPr>
            </a:lvl4pPr>
            <a:lvl5pPr marL="2059200" indent="-230400">
              <a:spcBef>
                <a:spcPts val="38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10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0" y="863601"/>
            <a:ext cx="11068060" cy="320359"/>
          </a:xfrm>
        </p:spPr>
        <p:txBody>
          <a:bodyPr anchor="t">
            <a:normAutofit/>
          </a:bodyPr>
          <a:lstStyle>
            <a:lvl1pPr>
              <a:defRPr sz="1500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9275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10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0" y="863601"/>
            <a:ext cx="11068060" cy="320359"/>
          </a:xfrm>
        </p:spPr>
        <p:txBody>
          <a:bodyPr anchor="t">
            <a:normAutofit/>
          </a:bodyPr>
          <a:lstStyle>
            <a:lvl1pPr>
              <a:defRPr sz="1500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4155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636031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6" y="906466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3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35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419444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84727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6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3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2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9345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lIns="91426" tIns="45712" rIns="91426" bIns="4571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_tradnl" sz="2400">
              <a:solidFill>
                <a:srgbClr val="002D72"/>
              </a:solidFill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09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160" indent="0" algn="l">
              <a:buNone/>
              <a:defRPr sz="3600">
                <a:solidFill>
                  <a:schemeClr val="bg1"/>
                </a:solidFill>
              </a:defRPr>
            </a:lvl2pPr>
            <a:lvl3pPr marL="747592" indent="0" algn="l">
              <a:buNone/>
              <a:defRPr sz="3600">
                <a:solidFill>
                  <a:schemeClr val="bg1"/>
                </a:solidFill>
              </a:defRPr>
            </a:lvl3pPr>
            <a:lvl4pPr marL="1088850" indent="0" algn="l">
              <a:buNone/>
              <a:defRPr sz="3600">
                <a:solidFill>
                  <a:schemeClr val="bg1"/>
                </a:solidFill>
              </a:defRPr>
            </a:lvl4pPr>
            <a:lvl5pPr marL="1426933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160" indent="0" algn="l">
              <a:buNone/>
              <a:defRPr sz="2400">
                <a:solidFill>
                  <a:srgbClr val="00B3F0"/>
                </a:solidFill>
              </a:defRPr>
            </a:lvl2pPr>
            <a:lvl3pPr marL="747592" indent="0" algn="l">
              <a:buNone/>
              <a:defRPr sz="2400">
                <a:solidFill>
                  <a:srgbClr val="00B3F0"/>
                </a:solidFill>
              </a:defRPr>
            </a:lvl3pPr>
            <a:lvl4pPr marL="1088850" indent="0" algn="l">
              <a:buNone/>
              <a:defRPr sz="2400">
                <a:solidFill>
                  <a:srgbClr val="00B3F0"/>
                </a:solidFill>
              </a:defRPr>
            </a:lvl4pPr>
            <a:lvl5pPr marL="1426933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4125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70" y="1597948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 tIns="45712" rIns="91426" bIns="45712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1" y="-37908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09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160" indent="0" algn="l">
              <a:buNone/>
              <a:defRPr sz="3600">
                <a:solidFill>
                  <a:schemeClr val="bg1"/>
                </a:solidFill>
              </a:defRPr>
            </a:lvl2pPr>
            <a:lvl3pPr marL="747592" indent="0" algn="l">
              <a:buNone/>
              <a:defRPr sz="3600">
                <a:solidFill>
                  <a:schemeClr val="bg1"/>
                </a:solidFill>
              </a:defRPr>
            </a:lvl3pPr>
            <a:lvl4pPr marL="1088850" indent="0" algn="l">
              <a:buNone/>
              <a:defRPr sz="3600">
                <a:solidFill>
                  <a:schemeClr val="bg1"/>
                </a:solidFill>
              </a:defRPr>
            </a:lvl4pPr>
            <a:lvl5pPr marL="1426933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160" indent="0" algn="l">
              <a:buNone/>
              <a:defRPr sz="2400">
                <a:solidFill>
                  <a:srgbClr val="00B3F0"/>
                </a:solidFill>
              </a:defRPr>
            </a:lvl2pPr>
            <a:lvl3pPr marL="747592" indent="0" algn="l">
              <a:buNone/>
              <a:defRPr sz="2400">
                <a:solidFill>
                  <a:srgbClr val="00B3F0"/>
                </a:solidFill>
              </a:defRPr>
            </a:lvl3pPr>
            <a:lvl4pPr marL="1088850" indent="0" algn="l">
              <a:buNone/>
              <a:defRPr sz="2400">
                <a:solidFill>
                  <a:srgbClr val="00B3F0"/>
                </a:solidFill>
              </a:defRPr>
            </a:lvl4pPr>
            <a:lvl5pPr marL="1426933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68060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lIns="91426" tIns="45712" rIns="91426" bIns="4571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_tradnl" sz="2400">
              <a:solidFill>
                <a:srgbClr val="002D72"/>
              </a:solidFill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09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160" indent="0" algn="l">
              <a:buNone/>
              <a:defRPr sz="3600">
                <a:solidFill>
                  <a:schemeClr val="bg1"/>
                </a:solidFill>
              </a:defRPr>
            </a:lvl2pPr>
            <a:lvl3pPr marL="747592" indent="0" algn="l">
              <a:buNone/>
              <a:defRPr sz="3600">
                <a:solidFill>
                  <a:schemeClr val="bg1"/>
                </a:solidFill>
              </a:defRPr>
            </a:lvl3pPr>
            <a:lvl4pPr marL="1088850" indent="0" algn="l">
              <a:buNone/>
              <a:defRPr sz="3600">
                <a:solidFill>
                  <a:schemeClr val="bg1"/>
                </a:solidFill>
              </a:defRPr>
            </a:lvl4pPr>
            <a:lvl5pPr marL="1426933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160" indent="0" algn="l">
              <a:buNone/>
              <a:defRPr sz="2400">
                <a:solidFill>
                  <a:srgbClr val="00B3F0"/>
                </a:solidFill>
              </a:defRPr>
            </a:lvl2pPr>
            <a:lvl3pPr marL="747592" indent="0" algn="l">
              <a:buNone/>
              <a:defRPr sz="2400">
                <a:solidFill>
                  <a:srgbClr val="00B3F0"/>
                </a:solidFill>
              </a:defRPr>
            </a:lvl3pPr>
            <a:lvl4pPr marL="1088850" indent="0" algn="l">
              <a:buNone/>
              <a:defRPr sz="2400">
                <a:solidFill>
                  <a:srgbClr val="00B3F0"/>
                </a:solidFill>
              </a:defRPr>
            </a:lvl4pPr>
            <a:lvl5pPr marL="1426933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25876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5" y="234066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26" tIns="45712" rIns="91426" bIns="45712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70" y="411960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160" indent="0">
              <a:buNone/>
              <a:defRPr sz="2400">
                <a:solidFill>
                  <a:srgbClr val="004785"/>
                </a:solidFill>
              </a:defRPr>
            </a:lvl2pPr>
            <a:lvl3pPr marL="747592" indent="0">
              <a:buNone/>
              <a:defRPr sz="2400">
                <a:solidFill>
                  <a:srgbClr val="004785"/>
                </a:solidFill>
              </a:defRPr>
            </a:lvl3pPr>
            <a:lvl4pPr marL="1088850" indent="0">
              <a:buNone/>
              <a:defRPr sz="2400">
                <a:solidFill>
                  <a:srgbClr val="004785"/>
                </a:solidFill>
              </a:defRPr>
            </a:lvl4pPr>
            <a:lvl5pPr marL="1426933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70" y="905252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160" indent="0">
              <a:buNone/>
              <a:defRPr sz="2400">
                <a:solidFill>
                  <a:srgbClr val="004785"/>
                </a:solidFill>
              </a:defRPr>
            </a:lvl2pPr>
            <a:lvl3pPr marL="747592" indent="0">
              <a:buNone/>
              <a:defRPr sz="2400">
                <a:solidFill>
                  <a:srgbClr val="004785"/>
                </a:solidFill>
              </a:defRPr>
            </a:lvl3pPr>
            <a:lvl4pPr marL="1088850" indent="0">
              <a:buNone/>
              <a:defRPr sz="2400">
                <a:solidFill>
                  <a:srgbClr val="004785"/>
                </a:solidFill>
              </a:defRPr>
            </a:lvl4pPr>
            <a:lvl5pPr marL="1426933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48872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1" y="-37908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7" y="1308577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7134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5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8280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3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16376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d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730" y="21107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1" y="98856"/>
            <a:ext cx="1206483" cy="6105595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52905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4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31501" y="98855"/>
            <a:ext cx="1206483" cy="6105595"/>
            <a:chOff x="160238" y="162796"/>
            <a:chExt cx="1300907" cy="8777933"/>
          </a:xfrm>
        </p:grpSpPr>
        <p:sp>
          <p:nvSpPr>
            <p:cNvPr id="15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22579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4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1" y="99934"/>
            <a:ext cx="1206483" cy="6105588"/>
            <a:chOff x="90616" y="113613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13892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4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6" y="99934"/>
            <a:ext cx="1206481" cy="6105588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10965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4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4" y="99934"/>
            <a:ext cx="1206481" cy="6105588"/>
            <a:chOff x="1081465" y="114688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38750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" y="0"/>
            <a:ext cx="120931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057376" y="6356355"/>
            <a:ext cx="3319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asted-image.pdf" descr="pasted-image.pd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794" y="6356355"/>
            <a:ext cx="736953" cy="3651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13" y="6480626"/>
            <a:ext cx="1561852" cy="20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774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70" y="1597948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 tIns="45712" rIns="91426" bIns="45712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1" y="-37908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09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160" indent="0" algn="l">
              <a:buNone/>
              <a:defRPr sz="3600">
                <a:solidFill>
                  <a:schemeClr val="bg1"/>
                </a:solidFill>
              </a:defRPr>
            </a:lvl2pPr>
            <a:lvl3pPr marL="747592" indent="0" algn="l">
              <a:buNone/>
              <a:defRPr sz="3600">
                <a:solidFill>
                  <a:schemeClr val="bg1"/>
                </a:solidFill>
              </a:defRPr>
            </a:lvl3pPr>
            <a:lvl4pPr marL="1088850" indent="0" algn="l">
              <a:buNone/>
              <a:defRPr sz="3600">
                <a:solidFill>
                  <a:schemeClr val="bg1"/>
                </a:solidFill>
              </a:defRPr>
            </a:lvl4pPr>
            <a:lvl5pPr marL="1426933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160" indent="0" algn="l">
              <a:buNone/>
              <a:defRPr sz="2400">
                <a:solidFill>
                  <a:srgbClr val="00B3F0"/>
                </a:solidFill>
              </a:defRPr>
            </a:lvl2pPr>
            <a:lvl3pPr marL="747592" indent="0" algn="l">
              <a:buNone/>
              <a:defRPr sz="2400">
                <a:solidFill>
                  <a:srgbClr val="00B3F0"/>
                </a:solidFill>
              </a:defRPr>
            </a:lvl3pPr>
            <a:lvl4pPr marL="1088850" indent="0" algn="l">
              <a:buNone/>
              <a:defRPr sz="2400">
                <a:solidFill>
                  <a:srgbClr val="00B3F0"/>
                </a:solidFill>
              </a:defRPr>
            </a:lvl4pPr>
            <a:lvl5pPr marL="1426933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54848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"/>
          <p:cNvSpPr>
            <a:spLocks noChangeShapeType="1"/>
          </p:cNvSpPr>
          <p:nvPr userDrawn="1"/>
        </p:nvSpPr>
        <p:spPr bwMode="gray">
          <a:xfrm>
            <a:off x="585225" y="996696"/>
            <a:ext cx="11033759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endParaRPr lang="en-US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Title Placeholder 9"/>
          <p:cNvSpPr>
            <a:spLocks noGrp="1"/>
          </p:cNvSpPr>
          <p:nvPr>
            <p:ph type="title"/>
          </p:nvPr>
        </p:nvSpPr>
        <p:spPr>
          <a:xfrm>
            <a:off x="585216" y="152401"/>
            <a:ext cx="11033760" cy="80962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80724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4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4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0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892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4695688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359449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7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1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1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5147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s-ES_tradnl" sz="1800">
              <a:solidFill>
                <a:schemeClr val="tx2"/>
              </a:solidFill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06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632272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67" y="1597945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eaLnBrk="1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chemeClr val="bg1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chemeClr val="bg1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chemeClr val="bg1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eaLnBrk="1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2" y="-37910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06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242301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7" y="234065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Geneva" charset="0"/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68" y="411957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68" y="905249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93552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2" y="-37910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5" y="1308575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485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266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5" y="234066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26" tIns="45712" rIns="91426" bIns="45712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70" y="411960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160" indent="0">
              <a:buNone/>
              <a:defRPr sz="2400">
                <a:solidFill>
                  <a:srgbClr val="004785"/>
                </a:solidFill>
              </a:defRPr>
            </a:lvl2pPr>
            <a:lvl3pPr marL="747592" indent="0">
              <a:buNone/>
              <a:defRPr sz="2400">
                <a:solidFill>
                  <a:srgbClr val="004785"/>
                </a:solidFill>
              </a:defRPr>
            </a:lvl3pPr>
            <a:lvl4pPr marL="1088850" indent="0">
              <a:buNone/>
              <a:defRPr sz="2400">
                <a:solidFill>
                  <a:srgbClr val="004785"/>
                </a:solidFill>
              </a:defRPr>
            </a:lvl4pPr>
            <a:lvl5pPr marL="1426933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70" y="905252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160" indent="0">
              <a:buNone/>
              <a:defRPr sz="2400">
                <a:solidFill>
                  <a:srgbClr val="004785"/>
                </a:solidFill>
              </a:defRPr>
            </a:lvl2pPr>
            <a:lvl3pPr marL="747592" indent="0">
              <a:buNone/>
              <a:defRPr sz="2400">
                <a:solidFill>
                  <a:srgbClr val="004785"/>
                </a:solidFill>
              </a:defRPr>
            </a:lvl3pPr>
            <a:lvl4pPr marL="1088850" indent="0">
              <a:buNone/>
              <a:defRPr sz="2400">
                <a:solidFill>
                  <a:srgbClr val="004785"/>
                </a:solidFill>
              </a:defRPr>
            </a:lvl4pPr>
            <a:lvl5pPr marL="1426933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91711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95663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4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4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0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1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92C380FF-0397-644C-B316-9BC79B505A0E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412852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B53A4395-16C9-6F44-AB3C-C7A6087BA63D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789832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7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1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1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7488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2400" b="0" i="0" u="none" strike="noStrike" kern="1200" cap="none" spc="0" normalizeH="0" baseline="0" noProof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06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430918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67" y="1597945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kumimoji="0" lang="es-ES_tradnl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</a:br>
            <a:r>
              <a:rPr kumimoji="0" lang="es-ES_tradnl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Aquí van los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creditos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de la cita;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lorem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ipsum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dolor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sit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amet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consectetur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adipiscing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2" y="-37910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06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185085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7" y="234065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0"/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68" y="411957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68" y="905249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86530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2" y="-37910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5" y="1308575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2719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3350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1" y="-37908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7" y="1308577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430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61543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118499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" name="Group 2"/>
          <p:cNvGrpSpPr/>
          <p:nvPr userDrawn="1"/>
        </p:nvGrpSpPr>
        <p:grpSpPr>
          <a:xfrm>
            <a:off x="2" y="6221395"/>
            <a:ext cx="12191999" cy="574391"/>
            <a:chOff x="0" y="6221393"/>
            <a:chExt cx="12191999" cy="574391"/>
          </a:xfrm>
        </p:grpSpPr>
        <p:pic>
          <p:nvPicPr>
            <p:cNvPr id="71" name="footer-13.jpg" descr="footer-13.jpg"/>
            <p:cNvPicPr>
              <a:picLocks noChangeAspect="1"/>
            </p:cNvPicPr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6221393"/>
              <a:ext cx="9906000" cy="574391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2" name="footer-13.jpg" descr="footer-13.jpg"/>
            <p:cNvPicPr>
              <a:picLocks noChangeAspect="1"/>
            </p:cNvPicPr>
            <p:nvPr userDrawn="1"/>
          </p:nvPicPr>
          <p:blipFill rotWithShape="1">
            <a:blip r:embed="rId7" cstate="print"/>
            <a:srcRect l="26342"/>
            <a:stretch/>
          </p:blipFill>
          <p:spPr>
            <a:xfrm>
              <a:off x="4895384" y="6221393"/>
              <a:ext cx="7296615" cy="57439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453896" y="722376"/>
            <a:ext cx="7251192" cy="649224"/>
          </a:xfrm>
          <a:prstGeom prst="rect">
            <a:avLst/>
          </a:prstGeom>
        </p:spPr>
        <p:txBody>
          <a:bodyPr lIns="36000" tIns="46800" rIns="36000" bIns="46800" anchor="ctr" anchorCtr="0">
            <a:normAutofit/>
          </a:bodyPr>
          <a:lstStyle>
            <a:lvl1pPr algn="l">
              <a:lnSpc>
                <a:spcPct val="93000"/>
              </a:lnSpc>
              <a:defRPr sz="3000" baseline="0">
                <a:solidFill>
                  <a:srgbClr val="86CBD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Presentación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453896" y="2221992"/>
            <a:ext cx="8138160" cy="365760"/>
          </a:xfrm>
          <a:prstGeom prst="rect">
            <a:avLst/>
          </a:prstGeom>
        </p:spPr>
        <p:txBody>
          <a:bodyPr lIns="36000" tIns="46800" rIns="36000" bIns="46800" anchor="ctr"/>
          <a:lstStyle>
            <a:lvl1pPr marL="0" indent="0" algn="l">
              <a:lnSpc>
                <a:spcPct val="110000"/>
              </a:lnSpc>
              <a:buNone/>
              <a:defRPr sz="1350" b="1" baseline="0">
                <a:solidFill>
                  <a:srgbClr val="016AA1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453896" y="4983480"/>
            <a:ext cx="7589520" cy="365760"/>
          </a:xfrm>
          <a:prstGeom prst="rect">
            <a:avLst/>
          </a:prstGeom>
          <a:noFill/>
        </p:spPr>
        <p:txBody>
          <a:bodyPr lIns="36000" tIns="46800" rIns="36000" bIns="46800" anchor="ctr"/>
          <a:lstStyle>
            <a:lvl1pPr algn="l">
              <a:lnSpc>
                <a:spcPct val="110000"/>
              </a:lnSpc>
              <a:buNone/>
              <a:defRPr sz="1350" b="0" cap="none" baseline="0">
                <a:solidFill>
                  <a:srgbClr val="7C1A4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0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0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01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6" y="6545571"/>
            <a:ext cx="420925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1681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rgbClr val="4472C4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176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1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44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658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1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611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1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145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2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65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2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54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 userDrawn="1"/>
        </p:nvSpPr>
        <p:spPr bwMode="gray">
          <a:xfrm>
            <a:off x="557948" y="679218"/>
            <a:ext cx="1113960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82" tIns="45690" rIns="91382" bIns="4569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482" y="350114"/>
            <a:ext cx="11230029" cy="32910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819D7-74CB-4B65-9AC3-D4A2007CCA09}" type="slidenum">
              <a:rPr lang="en-US" altLang="es-MX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altLang="es-MX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930518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2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29410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26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2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9436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10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3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30"/>
            <a:ext cx="2694667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82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3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38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3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7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63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3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7" y="3589606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28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4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1" y="3407805"/>
            <a:ext cx="2694667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4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4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70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4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69" y="3407805"/>
            <a:ext cx="2694667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76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4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299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42" Type="http://schemas.openxmlformats.org/officeDocument/2006/relationships/slideLayout" Target="../slideLayouts/slideLayout122.xml"/><Relationship Id="rId47" Type="http://schemas.openxmlformats.org/officeDocument/2006/relationships/slideLayout" Target="../slideLayouts/slideLayout127.xml"/><Relationship Id="rId50" Type="http://schemas.openxmlformats.org/officeDocument/2006/relationships/slideLayout" Target="../slideLayouts/slideLayout130.xml"/><Relationship Id="rId55" Type="http://schemas.openxmlformats.org/officeDocument/2006/relationships/theme" Target="../theme/theme10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20.xml"/><Relationship Id="rId45" Type="http://schemas.openxmlformats.org/officeDocument/2006/relationships/slideLayout" Target="../slideLayouts/slideLayout125.xml"/><Relationship Id="rId53" Type="http://schemas.openxmlformats.org/officeDocument/2006/relationships/slideLayout" Target="../slideLayouts/slideLayout133.xml"/><Relationship Id="rId58" Type="http://schemas.openxmlformats.org/officeDocument/2006/relationships/oleObject" Target="../embeddings/oleObject13.bin"/><Relationship Id="rId5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43" Type="http://schemas.openxmlformats.org/officeDocument/2006/relationships/slideLayout" Target="../slideLayouts/slideLayout123.xml"/><Relationship Id="rId48" Type="http://schemas.openxmlformats.org/officeDocument/2006/relationships/slideLayout" Target="../slideLayouts/slideLayout128.xml"/><Relationship Id="rId56" Type="http://schemas.openxmlformats.org/officeDocument/2006/relationships/vmlDrawing" Target="../drawings/vmlDrawing13.vml"/><Relationship Id="rId8" Type="http://schemas.openxmlformats.org/officeDocument/2006/relationships/slideLayout" Target="../slideLayouts/slideLayout88.xml"/><Relationship Id="rId51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Relationship Id="rId46" Type="http://schemas.openxmlformats.org/officeDocument/2006/relationships/slideLayout" Target="../slideLayouts/slideLayout126.xml"/><Relationship Id="rId59" Type="http://schemas.openxmlformats.org/officeDocument/2006/relationships/image" Target="../media/image5.emf"/><Relationship Id="rId20" Type="http://schemas.openxmlformats.org/officeDocument/2006/relationships/slideLayout" Target="../slideLayouts/slideLayout100.xml"/><Relationship Id="rId41" Type="http://schemas.openxmlformats.org/officeDocument/2006/relationships/slideLayout" Target="../slideLayouts/slideLayout121.xml"/><Relationship Id="rId54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49" Type="http://schemas.openxmlformats.org/officeDocument/2006/relationships/slideLayout" Target="../slideLayouts/slideLayout129.xml"/><Relationship Id="rId57" Type="http://schemas.openxmlformats.org/officeDocument/2006/relationships/tags" Target="../tags/tag14.xml"/><Relationship Id="rId10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11.xml"/><Relationship Id="rId44" Type="http://schemas.openxmlformats.org/officeDocument/2006/relationships/slideLayout" Target="../slideLayouts/slideLayout124.xml"/><Relationship Id="rId52" Type="http://schemas.openxmlformats.org/officeDocument/2006/relationships/slideLayout" Target="../slideLayouts/slideLayout13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theme" Target="../theme/theme11.x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136.xml"/><Relationship Id="rId16" Type="http://schemas.openxmlformats.org/officeDocument/2006/relationships/oleObject" Target="../embeddings/oleObject65.bin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ags" Target="../tags/tag112.xml"/><Relationship Id="rId10" Type="http://schemas.openxmlformats.org/officeDocument/2006/relationships/slideLayout" Target="../slideLayouts/slideLayout14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vmlDrawing" Target="../drawings/vmlDrawing65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tags" Target="../tags/tag125.xml"/><Relationship Id="rId3" Type="http://schemas.openxmlformats.org/officeDocument/2006/relationships/slideLayout" Target="../slideLayouts/slideLayout149.xml"/><Relationship Id="rId21" Type="http://schemas.openxmlformats.org/officeDocument/2006/relationships/image" Target="../media/image6.jpeg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tags" Target="../tags/tag124.xml"/><Relationship Id="rId2" Type="http://schemas.openxmlformats.org/officeDocument/2006/relationships/slideLayout" Target="../slideLayouts/slideLayout148.xml"/><Relationship Id="rId16" Type="http://schemas.openxmlformats.org/officeDocument/2006/relationships/vmlDrawing" Target="../drawings/vmlDrawing77.v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56.xml"/><Relationship Id="rId19" Type="http://schemas.openxmlformats.org/officeDocument/2006/relationships/oleObject" Target="../embeddings/oleObject77.bin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image" Target="../media/image7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18" Type="http://schemas.openxmlformats.org/officeDocument/2006/relationships/theme" Target="../theme/theme15.xml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88.xml"/><Relationship Id="rId19" Type="http://schemas.openxmlformats.org/officeDocument/2006/relationships/image" Target="../media/image19.png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198.xml"/><Relationship Id="rId21" Type="http://schemas.openxmlformats.org/officeDocument/2006/relationships/tags" Target="../tags/tag140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image" Target="../media/image6.jpeg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vmlDrawing" Target="../drawings/vmlDrawing92.v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image" Target="../media/image5.emf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oleObject" Target="../embeddings/oleObject92.bin"/><Relationship Id="rId10" Type="http://schemas.openxmlformats.org/officeDocument/2006/relationships/slideLayout" Target="../slideLayouts/slideLayout205.xml"/><Relationship Id="rId19" Type="http://schemas.openxmlformats.org/officeDocument/2006/relationships/theme" Target="../theme/theme16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tags" Target="../tags/tag14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slideLayout" Target="../slideLayouts/slideLayout226.xml"/><Relationship Id="rId18" Type="http://schemas.openxmlformats.org/officeDocument/2006/relationships/tags" Target="../tags/tag156.xml"/><Relationship Id="rId3" Type="http://schemas.openxmlformats.org/officeDocument/2006/relationships/slideLayout" Target="../slideLayouts/slideLayout216.xml"/><Relationship Id="rId21" Type="http://schemas.openxmlformats.org/officeDocument/2006/relationships/image" Target="../media/image6.jpeg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17" Type="http://schemas.openxmlformats.org/officeDocument/2006/relationships/tags" Target="../tags/tag155.xml"/><Relationship Id="rId2" Type="http://schemas.openxmlformats.org/officeDocument/2006/relationships/slideLayout" Target="../slideLayouts/slideLayout215.xml"/><Relationship Id="rId16" Type="http://schemas.openxmlformats.org/officeDocument/2006/relationships/vmlDrawing" Target="../drawings/vmlDrawing105.v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223.xml"/><Relationship Id="rId19" Type="http://schemas.openxmlformats.org/officeDocument/2006/relationships/oleObject" Target="../embeddings/oleObject105.bin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image" Target="../media/image7.png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0.xml"/><Relationship Id="rId18" Type="http://schemas.openxmlformats.org/officeDocument/2006/relationships/slideLayout" Target="../slideLayouts/slideLayout245.xml"/><Relationship Id="rId26" Type="http://schemas.openxmlformats.org/officeDocument/2006/relationships/slideLayout" Target="../slideLayouts/slideLayout253.xml"/><Relationship Id="rId39" Type="http://schemas.openxmlformats.org/officeDocument/2006/relationships/slideLayout" Target="../slideLayouts/slideLayout266.xml"/><Relationship Id="rId21" Type="http://schemas.openxmlformats.org/officeDocument/2006/relationships/slideLayout" Target="../slideLayouts/slideLayout248.xml"/><Relationship Id="rId34" Type="http://schemas.openxmlformats.org/officeDocument/2006/relationships/slideLayout" Target="../slideLayouts/slideLayout261.xml"/><Relationship Id="rId42" Type="http://schemas.openxmlformats.org/officeDocument/2006/relationships/slideLayout" Target="../slideLayouts/slideLayout269.xml"/><Relationship Id="rId47" Type="http://schemas.openxmlformats.org/officeDocument/2006/relationships/slideLayout" Target="../slideLayouts/slideLayout274.xml"/><Relationship Id="rId50" Type="http://schemas.openxmlformats.org/officeDocument/2006/relationships/slideLayout" Target="../slideLayouts/slideLayout277.xml"/><Relationship Id="rId55" Type="http://schemas.openxmlformats.org/officeDocument/2006/relationships/tags" Target="../tags/tag170.xml"/><Relationship Id="rId7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29.xml"/><Relationship Id="rId16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6.xml"/><Relationship Id="rId11" Type="http://schemas.openxmlformats.org/officeDocument/2006/relationships/slideLayout" Target="../slideLayouts/slideLayout238.xml"/><Relationship Id="rId24" Type="http://schemas.openxmlformats.org/officeDocument/2006/relationships/slideLayout" Target="../slideLayouts/slideLayout251.xml"/><Relationship Id="rId32" Type="http://schemas.openxmlformats.org/officeDocument/2006/relationships/slideLayout" Target="../slideLayouts/slideLayout259.xml"/><Relationship Id="rId37" Type="http://schemas.openxmlformats.org/officeDocument/2006/relationships/slideLayout" Target="../slideLayouts/slideLayout264.xml"/><Relationship Id="rId40" Type="http://schemas.openxmlformats.org/officeDocument/2006/relationships/slideLayout" Target="../slideLayouts/slideLayout267.xml"/><Relationship Id="rId45" Type="http://schemas.openxmlformats.org/officeDocument/2006/relationships/slideLayout" Target="../slideLayouts/slideLayout272.xml"/><Relationship Id="rId53" Type="http://schemas.openxmlformats.org/officeDocument/2006/relationships/theme" Target="../theme/theme18.xml"/><Relationship Id="rId5" Type="http://schemas.openxmlformats.org/officeDocument/2006/relationships/slideLayout" Target="../slideLayouts/slideLayout232.xml"/><Relationship Id="rId19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slideLayout" Target="../slideLayouts/slideLayout241.xml"/><Relationship Id="rId22" Type="http://schemas.openxmlformats.org/officeDocument/2006/relationships/slideLayout" Target="../slideLayouts/slideLayout249.xml"/><Relationship Id="rId27" Type="http://schemas.openxmlformats.org/officeDocument/2006/relationships/slideLayout" Target="../slideLayouts/slideLayout254.xml"/><Relationship Id="rId30" Type="http://schemas.openxmlformats.org/officeDocument/2006/relationships/slideLayout" Target="../slideLayouts/slideLayout257.xml"/><Relationship Id="rId35" Type="http://schemas.openxmlformats.org/officeDocument/2006/relationships/slideLayout" Target="../slideLayouts/slideLayout262.xml"/><Relationship Id="rId43" Type="http://schemas.openxmlformats.org/officeDocument/2006/relationships/slideLayout" Target="../slideLayouts/slideLayout270.xml"/><Relationship Id="rId48" Type="http://schemas.openxmlformats.org/officeDocument/2006/relationships/slideLayout" Target="../slideLayouts/slideLayout275.xml"/><Relationship Id="rId56" Type="http://schemas.openxmlformats.org/officeDocument/2006/relationships/oleObject" Target="../embeddings/oleObject119.bin"/><Relationship Id="rId8" Type="http://schemas.openxmlformats.org/officeDocument/2006/relationships/slideLayout" Target="../slideLayouts/slideLayout235.xml"/><Relationship Id="rId51" Type="http://schemas.openxmlformats.org/officeDocument/2006/relationships/slideLayout" Target="../slideLayouts/slideLayout278.xml"/><Relationship Id="rId3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9.xml"/><Relationship Id="rId17" Type="http://schemas.openxmlformats.org/officeDocument/2006/relationships/slideLayout" Target="../slideLayouts/slideLayout244.xml"/><Relationship Id="rId25" Type="http://schemas.openxmlformats.org/officeDocument/2006/relationships/slideLayout" Target="../slideLayouts/slideLayout252.xml"/><Relationship Id="rId33" Type="http://schemas.openxmlformats.org/officeDocument/2006/relationships/slideLayout" Target="../slideLayouts/slideLayout260.xml"/><Relationship Id="rId38" Type="http://schemas.openxmlformats.org/officeDocument/2006/relationships/slideLayout" Target="../slideLayouts/slideLayout265.xml"/><Relationship Id="rId46" Type="http://schemas.openxmlformats.org/officeDocument/2006/relationships/slideLayout" Target="../slideLayouts/slideLayout273.xml"/><Relationship Id="rId20" Type="http://schemas.openxmlformats.org/officeDocument/2006/relationships/slideLayout" Target="../slideLayouts/slideLayout247.xml"/><Relationship Id="rId41" Type="http://schemas.openxmlformats.org/officeDocument/2006/relationships/slideLayout" Target="../slideLayouts/slideLayout268.xml"/><Relationship Id="rId54" Type="http://schemas.openxmlformats.org/officeDocument/2006/relationships/vmlDrawing" Target="../drawings/vmlDrawing119.v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5" Type="http://schemas.openxmlformats.org/officeDocument/2006/relationships/slideLayout" Target="../slideLayouts/slideLayout242.xml"/><Relationship Id="rId23" Type="http://schemas.openxmlformats.org/officeDocument/2006/relationships/slideLayout" Target="../slideLayouts/slideLayout250.xml"/><Relationship Id="rId28" Type="http://schemas.openxmlformats.org/officeDocument/2006/relationships/slideLayout" Target="../slideLayouts/slideLayout255.xml"/><Relationship Id="rId36" Type="http://schemas.openxmlformats.org/officeDocument/2006/relationships/slideLayout" Target="../slideLayouts/slideLayout263.xml"/><Relationship Id="rId49" Type="http://schemas.openxmlformats.org/officeDocument/2006/relationships/slideLayout" Target="../slideLayouts/slideLayout276.xml"/><Relationship Id="rId57" Type="http://schemas.openxmlformats.org/officeDocument/2006/relationships/image" Target="../media/image5.emf"/><Relationship Id="rId10" Type="http://schemas.openxmlformats.org/officeDocument/2006/relationships/slideLayout" Target="../slideLayouts/slideLayout237.xml"/><Relationship Id="rId31" Type="http://schemas.openxmlformats.org/officeDocument/2006/relationships/slideLayout" Target="../slideLayouts/slideLayout258.xml"/><Relationship Id="rId44" Type="http://schemas.openxmlformats.org/officeDocument/2006/relationships/slideLayout" Target="../slideLayouts/slideLayout271.xml"/><Relationship Id="rId52" Type="http://schemas.openxmlformats.org/officeDocument/2006/relationships/slideLayout" Target="../slideLayouts/slideLayout27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7.xml"/><Relationship Id="rId13" Type="http://schemas.openxmlformats.org/officeDocument/2006/relationships/slideLayout" Target="../slideLayouts/slideLayout292.xml"/><Relationship Id="rId18" Type="http://schemas.openxmlformats.org/officeDocument/2006/relationships/oleObject" Target="../embeddings/oleObject171.bin"/><Relationship Id="rId3" Type="http://schemas.openxmlformats.org/officeDocument/2006/relationships/slideLayout" Target="../slideLayouts/slideLayout282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286.xml"/><Relationship Id="rId12" Type="http://schemas.openxmlformats.org/officeDocument/2006/relationships/slideLayout" Target="../slideLayouts/slideLayout291.xml"/><Relationship Id="rId17" Type="http://schemas.openxmlformats.org/officeDocument/2006/relationships/tags" Target="../tags/tag268.xml"/><Relationship Id="rId2" Type="http://schemas.openxmlformats.org/officeDocument/2006/relationships/slideLayout" Target="../slideLayouts/slideLayout281.xml"/><Relationship Id="rId16" Type="http://schemas.openxmlformats.org/officeDocument/2006/relationships/vmlDrawing" Target="../drawings/vmlDrawing171.v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280.xml"/><Relationship Id="rId6" Type="http://schemas.openxmlformats.org/officeDocument/2006/relationships/slideLayout" Target="../slideLayouts/slideLayout285.xml"/><Relationship Id="rId11" Type="http://schemas.openxmlformats.org/officeDocument/2006/relationships/slideLayout" Target="../slideLayouts/slideLayout290.xml"/><Relationship Id="rId5" Type="http://schemas.openxmlformats.org/officeDocument/2006/relationships/slideLayout" Target="../slideLayouts/slideLayout284.xml"/><Relationship Id="rId15" Type="http://schemas.openxmlformats.org/officeDocument/2006/relationships/theme" Target="../theme/theme19.xml"/><Relationship Id="rId10" Type="http://schemas.openxmlformats.org/officeDocument/2006/relationships/slideLayout" Target="../slideLayouts/slideLayout289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283.xml"/><Relationship Id="rId9" Type="http://schemas.openxmlformats.org/officeDocument/2006/relationships/slideLayout" Target="../slideLayouts/slideLayout288.xml"/><Relationship Id="rId14" Type="http://schemas.openxmlformats.org/officeDocument/2006/relationships/slideLayout" Target="../slideLayouts/slideLayout29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1.xml"/><Relationship Id="rId13" Type="http://schemas.openxmlformats.org/officeDocument/2006/relationships/slideLayout" Target="../slideLayouts/slideLayout306.xml"/><Relationship Id="rId18" Type="http://schemas.openxmlformats.org/officeDocument/2006/relationships/tags" Target="../tags/tag280.xml"/><Relationship Id="rId3" Type="http://schemas.openxmlformats.org/officeDocument/2006/relationships/slideLayout" Target="../slideLayouts/slideLayout296.xml"/><Relationship Id="rId21" Type="http://schemas.openxmlformats.org/officeDocument/2006/relationships/image" Target="../media/image12.jpg"/><Relationship Id="rId7" Type="http://schemas.openxmlformats.org/officeDocument/2006/relationships/slideLayout" Target="../slideLayouts/slideLayout300.xml"/><Relationship Id="rId12" Type="http://schemas.openxmlformats.org/officeDocument/2006/relationships/slideLayout" Target="../slideLayouts/slideLayout305.xml"/><Relationship Id="rId17" Type="http://schemas.openxmlformats.org/officeDocument/2006/relationships/vmlDrawing" Target="../drawings/vmlDrawing183.vml"/><Relationship Id="rId2" Type="http://schemas.openxmlformats.org/officeDocument/2006/relationships/slideLayout" Target="../slideLayouts/slideLayout295.xml"/><Relationship Id="rId16" Type="http://schemas.openxmlformats.org/officeDocument/2006/relationships/theme" Target="../theme/theme20.x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1" Type="http://schemas.openxmlformats.org/officeDocument/2006/relationships/slideLayout" Target="../slideLayouts/slideLayout304.xml"/><Relationship Id="rId5" Type="http://schemas.openxmlformats.org/officeDocument/2006/relationships/slideLayout" Target="../slideLayouts/slideLayout298.xml"/><Relationship Id="rId15" Type="http://schemas.openxmlformats.org/officeDocument/2006/relationships/slideLayout" Target="../slideLayouts/slideLayout308.xml"/><Relationship Id="rId10" Type="http://schemas.openxmlformats.org/officeDocument/2006/relationships/slideLayout" Target="../slideLayouts/slideLayout303.xml"/><Relationship Id="rId19" Type="http://schemas.openxmlformats.org/officeDocument/2006/relationships/oleObject" Target="../embeddings/oleObject183.bin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slideLayout" Target="../slideLayouts/slideLayout307.xml"/><Relationship Id="rId22" Type="http://schemas.openxmlformats.org/officeDocument/2006/relationships/image" Target="../media/image7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6.xml"/><Relationship Id="rId13" Type="http://schemas.openxmlformats.org/officeDocument/2006/relationships/theme" Target="../theme/theme21.xml"/><Relationship Id="rId18" Type="http://schemas.openxmlformats.org/officeDocument/2006/relationships/image" Target="../media/image12.jpg"/><Relationship Id="rId3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315.xml"/><Relationship Id="rId12" Type="http://schemas.openxmlformats.org/officeDocument/2006/relationships/slideLayout" Target="../slideLayouts/slideLayout320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310.xml"/><Relationship Id="rId16" Type="http://schemas.openxmlformats.org/officeDocument/2006/relationships/oleObject" Target="../embeddings/oleObject195.bin"/><Relationship Id="rId1" Type="http://schemas.openxmlformats.org/officeDocument/2006/relationships/slideLayout" Target="../slideLayouts/slideLayout309.xml"/><Relationship Id="rId6" Type="http://schemas.openxmlformats.org/officeDocument/2006/relationships/slideLayout" Target="../slideLayouts/slideLayout314.xml"/><Relationship Id="rId11" Type="http://schemas.openxmlformats.org/officeDocument/2006/relationships/slideLayout" Target="../slideLayouts/slideLayout319.xml"/><Relationship Id="rId5" Type="http://schemas.openxmlformats.org/officeDocument/2006/relationships/slideLayout" Target="../slideLayouts/slideLayout313.xml"/><Relationship Id="rId15" Type="http://schemas.openxmlformats.org/officeDocument/2006/relationships/tags" Target="../tags/tag292.xml"/><Relationship Id="rId10" Type="http://schemas.openxmlformats.org/officeDocument/2006/relationships/slideLayout" Target="../slideLayouts/slideLayout318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312.xml"/><Relationship Id="rId9" Type="http://schemas.openxmlformats.org/officeDocument/2006/relationships/slideLayout" Target="../slideLayouts/slideLayout317.xml"/><Relationship Id="rId14" Type="http://schemas.openxmlformats.org/officeDocument/2006/relationships/vmlDrawing" Target="../drawings/vmlDrawing195.v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8.xml"/><Relationship Id="rId13" Type="http://schemas.openxmlformats.org/officeDocument/2006/relationships/slideLayout" Target="../slideLayouts/slideLayout333.xml"/><Relationship Id="rId18" Type="http://schemas.openxmlformats.org/officeDocument/2006/relationships/oleObject" Target="../embeddings/oleObject207.bin"/><Relationship Id="rId3" Type="http://schemas.openxmlformats.org/officeDocument/2006/relationships/slideLayout" Target="../slideLayouts/slideLayout323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327.xml"/><Relationship Id="rId12" Type="http://schemas.openxmlformats.org/officeDocument/2006/relationships/slideLayout" Target="../slideLayouts/slideLayout332.xml"/><Relationship Id="rId17" Type="http://schemas.openxmlformats.org/officeDocument/2006/relationships/tags" Target="../tags/tag304.xml"/><Relationship Id="rId2" Type="http://schemas.openxmlformats.org/officeDocument/2006/relationships/slideLayout" Target="../slideLayouts/slideLayout322.xml"/><Relationship Id="rId16" Type="http://schemas.openxmlformats.org/officeDocument/2006/relationships/vmlDrawing" Target="../drawings/vmlDrawing207.vml"/><Relationship Id="rId20" Type="http://schemas.openxmlformats.org/officeDocument/2006/relationships/image" Target="../media/image12.jpg"/><Relationship Id="rId1" Type="http://schemas.openxmlformats.org/officeDocument/2006/relationships/slideLayout" Target="../slideLayouts/slideLayout321.xml"/><Relationship Id="rId6" Type="http://schemas.openxmlformats.org/officeDocument/2006/relationships/slideLayout" Target="../slideLayouts/slideLayout326.xml"/><Relationship Id="rId11" Type="http://schemas.openxmlformats.org/officeDocument/2006/relationships/slideLayout" Target="../slideLayouts/slideLayout331.xml"/><Relationship Id="rId5" Type="http://schemas.openxmlformats.org/officeDocument/2006/relationships/slideLayout" Target="../slideLayouts/slideLayout325.xml"/><Relationship Id="rId15" Type="http://schemas.openxmlformats.org/officeDocument/2006/relationships/theme" Target="../theme/theme22.xml"/><Relationship Id="rId10" Type="http://schemas.openxmlformats.org/officeDocument/2006/relationships/slideLayout" Target="../slideLayouts/slideLayout330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324.xml"/><Relationship Id="rId9" Type="http://schemas.openxmlformats.org/officeDocument/2006/relationships/slideLayout" Target="../slideLayouts/slideLayout329.xml"/><Relationship Id="rId14" Type="http://schemas.openxmlformats.org/officeDocument/2006/relationships/slideLayout" Target="../slideLayouts/slideLayout334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2.xml"/><Relationship Id="rId13" Type="http://schemas.openxmlformats.org/officeDocument/2006/relationships/slideLayout" Target="../slideLayouts/slideLayout347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337.xml"/><Relationship Id="rId7" Type="http://schemas.openxmlformats.org/officeDocument/2006/relationships/slideLayout" Target="../slideLayouts/slideLayout341.xml"/><Relationship Id="rId12" Type="http://schemas.openxmlformats.org/officeDocument/2006/relationships/slideLayout" Target="../slideLayouts/slideLayout346.xml"/><Relationship Id="rId17" Type="http://schemas.openxmlformats.org/officeDocument/2006/relationships/oleObject" Target="../embeddings/oleObject219.bin"/><Relationship Id="rId2" Type="http://schemas.openxmlformats.org/officeDocument/2006/relationships/slideLayout" Target="../slideLayouts/slideLayout336.xml"/><Relationship Id="rId16" Type="http://schemas.openxmlformats.org/officeDocument/2006/relationships/tags" Target="../tags/tag316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335.xml"/><Relationship Id="rId6" Type="http://schemas.openxmlformats.org/officeDocument/2006/relationships/slideLayout" Target="../slideLayouts/slideLayout340.xml"/><Relationship Id="rId11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339.xml"/><Relationship Id="rId15" Type="http://schemas.openxmlformats.org/officeDocument/2006/relationships/vmlDrawing" Target="../drawings/vmlDrawing219.vml"/><Relationship Id="rId10" Type="http://schemas.openxmlformats.org/officeDocument/2006/relationships/slideLayout" Target="../slideLayouts/slideLayout344.xml"/><Relationship Id="rId19" Type="http://schemas.openxmlformats.org/officeDocument/2006/relationships/image" Target="../media/image6.jpeg"/><Relationship Id="rId4" Type="http://schemas.openxmlformats.org/officeDocument/2006/relationships/slideLayout" Target="../slideLayouts/slideLayout338.xml"/><Relationship Id="rId9" Type="http://schemas.openxmlformats.org/officeDocument/2006/relationships/slideLayout" Target="../slideLayouts/slideLayout343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5.xml"/><Relationship Id="rId13" Type="http://schemas.openxmlformats.org/officeDocument/2006/relationships/slideLayout" Target="../slideLayouts/slideLayout360.xml"/><Relationship Id="rId18" Type="http://schemas.openxmlformats.org/officeDocument/2006/relationships/oleObject" Target="../embeddings/oleObject231.bin"/><Relationship Id="rId3" Type="http://schemas.openxmlformats.org/officeDocument/2006/relationships/slideLayout" Target="../slideLayouts/slideLayout350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354.xml"/><Relationship Id="rId12" Type="http://schemas.openxmlformats.org/officeDocument/2006/relationships/slideLayout" Target="../slideLayouts/slideLayout359.xml"/><Relationship Id="rId17" Type="http://schemas.openxmlformats.org/officeDocument/2006/relationships/tags" Target="../tags/tag328.xml"/><Relationship Id="rId2" Type="http://schemas.openxmlformats.org/officeDocument/2006/relationships/slideLayout" Target="../slideLayouts/slideLayout349.xml"/><Relationship Id="rId16" Type="http://schemas.openxmlformats.org/officeDocument/2006/relationships/vmlDrawing" Target="../drawings/vmlDrawing231.v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348.xml"/><Relationship Id="rId6" Type="http://schemas.openxmlformats.org/officeDocument/2006/relationships/slideLayout" Target="../slideLayouts/slideLayout353.xml"/><Relationship Id="rId11" Type="http://schemas.openxmlformats.org/officeDocument/2006/relationships/slideLayout" Target="../slideLayouts/slideLayout358.xml"/><Relationship Id="rId5" Type="http://schemas.openxmlformats.org/officeDocument/2006/relationships/slideLayout" Target="../slideLayouts/slideLayout352.xml"/><Relationship Id="rId15" Type="http://schemas.openxmlformats.org/officeDocument/2006/relationships/theme" Target="../theme/theme24.xml"/><Relationship Id="rId10" Type="http://schemas.openxmlformats.org/officeDocument/2006/relationships/slideLayout" Target="../slideLayouts/slideLayout357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351.xml"/><Relationship Id="rId9" Type="http://schemas.openxmlformats.org/officeDocument/2006/relationships/slideLayout" Target="../slideLayouts/slideLayout356.xml"/><Relationship Id="rId14" Type="http://schemas.openxmlformats.org/officeDocument/2006/relationships/slideLayout" Target="../slideLayouts/slideLayout36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6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5" y="314326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17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7" y="6440492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  <a:ea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5" y="6440492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92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94223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127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253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38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507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879" indent="-288879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311" indent="-23015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569" indent="-226976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653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0735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7862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4989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115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242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7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043" name="think-cell Slide" r:id="rId58" imgW="270" imgH="270" progId="TCLayout.ActiveDocument.1">
                  <p:embed/>
                </p:oleObj>
              </mc:Choice>
              <mc:Fallback>
                <p:oleObj name="think-cell Slide" r:id="rId5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31747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12" r:id="rId30"/>
    <p:sldLayoutId id="2147484013" r:id="rId31"/>
    <p:sldLayoutId id="2147484014" r:id="rId32"/>
    <p:sldLayoutId id="2147484015" r:id="rId33"/>
    <p:sldLayoutId id="2147484016" r:id="rId34"/>
    <p:sldLayoutId id="2147484017" r:id="rId35"/>
    <p:sldLayoutId id="2147484018" r:id="rId36"/>
    <p:sldLayoutId id="2147484019" r:id="rId37"/>
    <p:sldLayoutId id="2147484020" r:id="rId38"/>
    <p:sldLayoutId id="2147484021" r:id="rId39"/>
    <p:sldLayoutId id="2147484022" r:id="rId40"/>
    <p:sldLayoutId id="2147484023" r:id="rId41"/>
    <p:sldLayoutId id="2147484024" r:id="rId42"/>
    <p:sldLayoutId id="2147484025" r:id="rId43"/>
    <p:sldLayoutId id="2147484026" r:id="rId44"/>
    <p:sldLayoutId id="2147484027" r:id="rId45"/>
    <p:sldLayoutId id="2147484028" r:id="rId46"/>
    <p:sldLayoutId id="2147484029" r:id="rId47"/>
    <p:sldLayoutId id="2147484030" r:id="rId48"/>
    <p:sldLayoutId id="2147484031" r:id="rId49"/>
    <p:sldLayoutId id="2147484032" r:id="rId50"/>
    <p:sldLayoutId id="2147484033" r:id="rId51"/>
    <p:sldLayoutId id="2147484034" r:id="rId52"/>
    <p:sldLayoutId id="2147484201" r:id="rId53"/>
    <p:sldLayoutId id="2147484202" r:id="rId5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rgbClr val="4472C4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528" userDrawn="1">
          <p15:clr>
            <a:srgbClr val="F26B43"/>
          </p15:clr>
        </p15:guide>
        <p15:guide id="3" pos="9712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40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19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53257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203" r:id="rId12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9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62045" rIns="0" bIns="62045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 userDrawn="1">
            <p:custDataLst>
              <p:tags r:id="rId18"/>
            </p:custDataLst>
          </p:nvPr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872470"/>
            <a:r>
              <a:rPr lang="en-US" sz="703">
                <a:solidFill>
                  <a:srgbClr val="808080"/>
                </a:solidFill>
                <a:cs typeface="Arial"/>
                <a:sym typeface="Arial"/>
              </a:rPr>
              <a:t>196301-97-20Dec17-CB-int-MEX.pptx</a:t>
            </a:r>
            <a:endParaRPr lang="en-US" sz="703" dirty="0">
              <a:solidFill>
                <a:srgbClr val="808080"/>
              </a:solidFill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7" y="1508761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4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7250" tIns="52350" rIns="87250" bIns="43625" rtlCol="0" anchor="t" anchorCtr="0">
            <a:noAutofit/>
          </a:bodyPr>
          <a:lstStyle/>
          <a:p>
            <a:pPr algn="r" defTabSz="872470">
              <a:defRPr/>
            </a:pPr>
            <a:fld id="{8FDC6993-5875-43F1-AB5B-56FAFD3221C9}" type="slidenum">
              <a:rPr lang="en-US" sz="984" smtClean="0">
                <a:solidFill>
                  <a:srgbClr val="FFFFFF"/>
                </a:solidFill>
              </a:rPr>
              <a:pPr algn="r" defTabSz="872470">
                <a:defRPr/>
              </a:pPr>
              <a:t>‹#›</a:t>
            </a:fld>
            <a:endParaRPr lang="en-US" sz="984" dirty="0">
              <a:solidFill>
                <a:srgbClr val="FFFFFF"/>
              </a:solidFill>
            </a:endParaRPr>
          </a:p>
          <a:p>
            <a:pPr defTabSz="872470"/>
            <a:endParaRPr lang="en-US" sz="844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7"/>
            <a:ext cx="793995" cy="365125"/>
          </a:xfrm>
          <a:prstGeom prst="rect">
            <a:avLst/>
          </a:prstGeom>
        </p:spPr>
        <p:txBody>
          <a:bodyPr vert="horz" lIns="87250" tIns="43625" rIns="87250" bIns="43625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84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/>
              <a:t>‹#›</a:t>
            </a:fld>
            <a:endParaRPr lang="en-US" sz="984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36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2" cstate="print"/>
          <a:stretch>
            <a:fillRect/>
          </a:stretch>
        </p:blipFill>
        <p:spPr>
          <a:xfrm>
            <a:off x="393800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3411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  <p:sldLayoutId id="2147484072" r:id="rId12"/>
    <p:sldLayoutId id="2147484078" r:id="rId13"/>
    <p:sldLayoutId id="2147484079" r:id="rId14"/>
  </p:sldLayoutIdLst>
  <p:hf hdr="0" ftr="0" dt="0"/>
  <p:txStyles>
    <p:titleStyle>
      <a:lvl1pPr algn="l" defTabSz="872470" rtl="0" eaLnBrk="1" latinLnBrk="0" hangingPunct="1">
        <a:spcBef>
          <a:spcPct val="0"/>
        </a:spcBef>
        <a:buNone/>
        <a:defRPr sz="1898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72470" rtl="0" eaLnBrk="1" latinLnBrk="0" hangingPunct="1">
        <a:spcBef>
          <a:spcPts val="366"/>
        </a:spcBef>
        <a:buFontTx/>
        <a:buNone/>
        <a:defRPr sz="154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36235" indent="-218118" algn="l" defTabSz="872470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•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72470" indent="-218118" algn="l" defTabSz="872470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313252" indent="-222662" algn="l" defTabSz="872470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64574" indent="-219633" algn="l" defTabSz="872470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99294" indent="-218118" algn="l" defTabSz="872470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6pPr>
      <a:lvl7pPr marL="2835531" indent="-218118" algn="l" defTabSz="872470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7pPr>
      <a:lvl8pPr marL="3271765" indent="-218118" algn="l" defTabSz="872470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8pPr>
      <a:lvl9pPr marL="3708002" indent="-218118" algn="l" defTabSz="872470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1pPr>
      <a:lvl2pPr marL="436235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2pPr>
      <a:lvl3pPr marL="872470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3pPr>
      <a:lvl4pPr marL="1308705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4pPr>
      <a:lvl5pPr marL="1744941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5pPr>
      <a:lvl6pPr marL="2181177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6pPr>
      <a:lvl7pPr marL="2617415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7pPr>
      <a:lvl8pPr marL="3053647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8pPr>
      <a:lvl9pPr marL="3489882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316141" y="235947"/>
            <a:ext cx="1154354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15768" y="1320800"/>
            <a:ext cx="11552385" cy="494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85"/>
          <p:cNvSpPr txBox="1">
            <a:spLocks noChangeArrowheads="1"/>
          </p:cNvSpPr>
          <p:nvPr userDrawn="1"/>
        </p:nvSpPr>
        <p:spPr bwMode="black">
          <a:xfrm>
            <a:off x="316141" y="6492742"/>
            <a:ext cx="34607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Geneva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9pPr>
          </a:lstStyle>
          <a:p>
            <a:pPr>
              <a:defRPr/>
            </a:pPr>
            <a:fld id="{410BB04A-6CB2-A14D-B6AF-586C8C166ED7}" type="slidenum">
              <a:rPr lang="en-US" sz="675" smtClean="0"/>
              <a:pPr>
                <a:defRPr/>
              </a:pPr>
              <a:t>‹#›</a:t>
            </a:fld>
            <a:endParaRPr lang="en-US" sz="675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65248" y="6492242"/>
            <a:ext cx="170048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374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16694" indent="-216694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475060" indent="-172641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731044" indent="-170260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984647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2382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15811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6pPr>
      <a:lvl7pPr marL="19240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7pPr>
      <a:lvl8pPr marL="22669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8pPr>
      <a:lvl9pPr marL="26098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316141" y="235947"/>
            <a:ext cx="1154354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15768" y="1320800"/>
            <a:ext cx="11552385" cy="494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85"/>
          <p:cNvSpPr txBox="1">
            <a:spLocks noChangeArrowheads="1"/>
          </p:cNvSpPr>
          <p:nvPr userDrawn="1"/>
        </p:nvSpPr>
        <p:spPr bwMode="black">
          <a:xfrm>
            <a:off x="316141" y="6492742"/>
            <a:ext cx="34607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Geneva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9pPr>
          </a:lstStyle>
          <a:p>
            <a:pPr>
              <a:defRPr/>
            </a:pPr>
            <a:fld id="{410BB04A-6CB2-A14D-B6AF-586C8C166ED7}" type="slidenum">
              <a:rPr lang="en-US" sz="675" smtClean="0"/>
              <a:pPr>
                <a:defRPr/>
              </a:pPr>
              <a:t>‹#›</a:t>
            </a:fld>
            <a:endParaRPr lang="en-US" sz="675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65248" y="6492242"/>
            <a:ext cx="170048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884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95" r:id="rId9"/>
    <p:sldLayoutId id="2147484196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16694" indent="-216694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475060" indent="-172641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731044" indent="-170260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984647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2382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15811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6pPr>
      <a:lvl7pPr marL="19240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7pPr>
      <a:lvl8pPr marL="22669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8pPr>
      <a:lvl9pPr marL="26098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316141" y="235947"/>
            <a:ext cx="1154354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15768" y="1320800"/>
            <a:ext cx="11552385" cy="494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85"/>
          <p:cNvSpPr txBox="1">
            <a:spLocks noChangeArrowheads="1"/>
          </p:cNvSpPr>
          <p:nvPr userDrawn="1"/>
        </p:nvSpPr>
        <p:spPr bwMode="black">
          <a:xfrm>
            <a:off x="316141" y="6492742"/>
            <a:ext cx="34607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Geneva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9pPr>
          </a:lstStyle>
          <a:p>
            <a:pPr>
              <a:defRPr/>
            </a:pPr>
            <a:fld id="{410BB04A-6CB2-A14D-B6AF-586C8C166ED7}" type="slidenum">
              <a:rPr lang="en-US" sz="675" smtClean="0"/>
              <a:pPr>
                <a:defRPr/>
              </a:pPr>
              <a:t>‹#›</a:t>
            </a:fld>
            <a:endParaRPr lang="en-US" sz="675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65248" y="6492242"/>
            <a:ext cx="170048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485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8" r:id="rId1"/>
    <p:sldLayoutId id="2147484109" r:id="rId2"/>
    <p:sldLayoutId id="2147484110" r:id="rId3"/>
    <p:sldLayoutId id="2147484111" r:id="rId4"/>
    <p:sldLayoutId id="2147484112" r:id="rId5"/>
    <p:sldLayoutId id="2147484113" r:id="rId6"/>
    <p:sldLayoutId id="2147484114" r:id="rId7"/>
    <p:sldLayoutId id="2147484115" r:id="rId8"/>
    <p:sldLayoutId id="2147484179" r:id="rId9"/>
    <p:sldLayoutId id="2147484180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4130" r:id="rId1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16694" indent="-216694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475060" indent="-172641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731044" indent="-170260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984647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2382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15811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6pPr>
      <a:lvl7pPr marL="19240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7pPr>
      <a:lvl8pPr marL="22669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8pPr>
      <a:lvl9pPr marL="26098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78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3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>
            <p:custDataLst>
              <p:tags r:id="rId22"/>
            </p:custDataLst>
          </p:nvPr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fr-FR" sz="525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20171204 - MX2020 KPI Structure v4.pptx</a:t>
            </a:r>
            <a:endParaRPr lang="en-US" sz="525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4" y="6271546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68580" tIns="41148" rIns="68580" bIns="34290" rtlCol="0" anchor="t" anchorCtr="0">
            <a:no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750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675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2" y="6448893"/>
            <a:ext cx="793995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750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75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6" cstate="print"/>
          <a:stretch>
            <a:fillRect/>
          </a:stretch>
        </p:blipFill>
        <p:spPr>
          <a:xfrm>
            <a:off x="393793" y="6416675"/>
            <a:ext cx="518063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8648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7" r:id="rId1"/>
    <p:sldLayoutId id="2147484118" r:id="rId2"/>
    <p:sldLayoutId id="2147484119" r:id="rId3"/>
    <p:sldLayoutId id="2147484120" r:id="rId4"/>
    <p:sldLayoutId id="2147484121" r:id="rId5"/>
    <p:sldLayoutId id="2147484122" r:id="rId6"/>
    <p:sldLayoutId id="2147484123" r:id="rId7"/>
    <p:sldLayoutId id="2147484124" r:id="rId8"/>
    <p:sldLayoutId id="2147484125" r:id="rId9"/>
    <p:sldLayoutId id="2147484126" r:id="rId10"/>
    <p:sldLayoutId id="2147484127" r:id="rId11"/>
    <p:sldLayoutId id="2147484129" r:id="rId12"/>
    <p:sldLayoutId id="2147483954" r:id="rId13"/>
    <p:sldLayoutId id="2147483956" r:id="rId14"/>
    <p:sldLayoutId id="2147483957" r:id="rId15"/>
    <p:sldLayoutId id="2147483958" r:id="rId16"/>
    <p:sldLayoutId id="2147483960" r:id="rId17"/>
    <p:sldLayoutId id="2147483961" r:id="rId18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500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685800" rtl="0" eaLnBrk="1" latinLnBrk="0" hangingPunct="1">
        <a:spcBef>
          <a:spcPts val="288"/>
        </a:spcBef>
        <a:buFontTx/>
        <a:buNone/>
        <a:defRPr sz="1200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342900" indent="-171450" algn="l" defTabSz="685800" rtl="0" eaLnBrk="1" latinLnBrk="0" hangingPunct="1">
        <a:spcBef>
          <a:spcPts val="288"/>
        </a:spcBef>
        <a:buClr>
          <a:srgbClr val="002D72"/>
        </a:buClr>
        <a:buFont typeface="Arial" pitchFamily="34" charset="0"/>
        <a:buChar char="•"/>
        <a:defRPr sz="12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685800" indent="-171450" algn="l" defTabSz="685800" rtl="0" eaLnBrk="1" latinLnBrk="0" hangingPunct="1">
        <a:spcBef>
          <a:spcPts val="288"/>
        </a:spcBef>
        <a:buClr>
          <a:srgbClr val="002D72"/>
        </a:buClr>
        <a:buFont typeface="Arial" pitchFamily="34" charset="0"/>
        <a:buChar char="–"/>
        <a:defRPr sz="12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032272" indent="-175022" algn="l" defTabSz="685800" rtl="0" eaLnBrk="1" latinLnBrk="0" hangingPunct="1">
        <a:spcBef>
          <a:spcPts val="288"/>
        </a:spcBef>
        <a:buClr>
          <a:srgbClr val="002D72"/>
        </a:buClr>
        <a:buFont typeface="Arial" pitchFamily="34" charset="0"/>
        <a:buChar char="–"/>
        <a:defRPr sz="12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544241" indent="-172641" algn="l" defTabSz="685800" rtl="0" eaLnBrk="1" latinLnBrk="0" hangingPunct="1">
        <a:spcBef>
          <a:spcPts val="288"/>
        </a:spcBef>
        <a:buClr>
          <a:srgbClr val="002D72"/>
        </a:buClr>
        <a:buFont typeface="Arial" pitchFamily="34" charset="0"/>
        <a:buChar char="–"/>
        <a:defRPr sz="12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10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61853" rIns="0" bIns="61853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 userDrawn="1">
            <p:custDataLst>
              <p:tags r:id="rId18"/>
            </p:custDataLst>
          </p:nvPr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869793"/>
            <a:r>
              <a:rPr lang="en-US" sz="703">
                <a:solidFill>
                  <a:srgbClr val="808080"/>
                </a:solidFill>
                <a:cs typeface="Arial"/>
                <a:sym typeface="Arial"/>
              </a:rPr>
              <a:t>196301-97-20Dec17-CB-int-MEX.pptx</a:t>
            </a:r>
            <a:endParaRPr lang="en-US" sz="703" dirty="0">
              <a:solidFill>
                <a:srgbClr val="808080"/>
              </a:solidFill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7" y="1508761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4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6981" tIns="52192" rIns="86981" bIns="43490" rtlCol="0" anchor="t" anchorCtr="0">
            <a:noAutofit/>
          </a:bodyPr>
          <a:lstStyle/>
          <a:p>
            <a:pPr algn="r" defTabSz="869793">
              <a:defRPr/>
            </a:pPr>
            <a:fld id="{8FDC6993-5875-43F1-AB5B-56FAFD3221C9}" type="slidenum">
              <a:rPr lang="en-US" sz="984" smtClean="0">
                <a:solidFill>
                  <a:srgbClr val="FFFFFF"/>
                </a:solidFill>
              </a:rPr>
              <a:pPr algn="r" defTabSz="869793">
                <a:defRPr/>
              </a:pPr>
              <a:t>‹#›</a:t>
            </a:fld>
            <a:endParaRPr lang="en-US" sz="984" dirty="0">
              <a:solidFill>
                <a:srgbClr val="FFFFFF"/>
              </a:solidFill>
            </a:endParaRPr>
          </a:p>
          <a:p>
            <a:pPr defTabSz="869793"/>
            <a:endParaRPr lang="en-US" sz="844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944"/>
            <a:ext cx="793995" cy="365125"/>
          </a:xfrm>
          <a:prstGeom prst="rect">
            <a:avLst/>
          </a:prstGeom>
        </p:spPr>
        <p:txBody>
          <a:bodyPr vert="horz" lIns="86981" tIns="43490" rIns="86981" bIns="434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84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/>
              <a:t>‹#›</a:t>
            </a:fld>
            <a:endParaRPr lang="en-US" sz="984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94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2" cstate="print"/>
          <a:stretch>
            <a:fillRect/>
          </a:stretch>
        </p:blipFill>
        <p:spPr>
          <a:xfrm>
            <a:off x="393858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Rectangle 9"/>
          <p:cNvSpPr/>
          <p:nvPr userDrawn="1"/>
        </p:nvSpPr>
        <p:spPr>
          <a:xfrm>
            <a:off x="357863" y="6719991"/>
            <a:ext cx="2092500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1066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1" r:id="rId10"/>
    <p:sldLayoutId id="2147484142" r:id="rId11"/>
    <p:sldLayoutId id="2147484143" r:id="rId12"/>
    <p:sldLayoutId id="2147484149" r:id="rId13"/>
    <p:sldLayoutId id="2147484150" r:id="rId14"/>
  </p:sldLayoutIdLst>
  <p:hf hdr="0" ftr="0" dt="0"/>
  <p:txStyles>
    <p:titleStyle>
      <a:lvl1pPr algn="l" defTabSz="869793" rtl="0" eaLnBrk="1" latinLnBrk="0" hangingPunct="1">
        <a:spcBef>
          <a:spcPct val="0"/>
        </a:spcBef>
        <a:buNone/>
        <a:defRPr sz="1898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69793" rtl="0" eaLnBrk="1" latinLnBrk="0" hangingPunct="1">
        <a:spcBef>
          <a:spcPts val="366"/>
        </a:spcBef>
        <a:buFontTx/>
        <a:buNone/>
        <a:defRPr sz="154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34889" indent="-217445" algn="l" defTabSz="869793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•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69793" indent="-217445" algn="l" defTabSz="869793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309214" indent="-221979" algn="l" defTabSz="869793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58543" indent="-218960" algn="l" defTabSz="869793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91893" indent="-217445" algn="l" defTabSz="869793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6pPr>
      <a:lvl7pPr marL="2826814" indent="-217445" algn="l" defTabSz="869793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7pPr>
      <a:lvl8pPr marL="3261713" indent="-217445" algn="l" defTabSz="869793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8pPr>
      <a:lvl9pPr marL="3696603" indent="-217445" algn="l" defTabSz="869793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1pPr>
      <a:lvl2pPr marL="434889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2pPr>
      <a:lvl3pPr marL="869793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3pPr>
      <a:lvl4pPr marL="1304690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4pPr>
      <a:lvl5pPr marL="1739569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5pPr>
      <a:lvl6pPr marL="2174474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6pPr>
      <a:lvl7pPr marL="2609385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7pPr>
      <a:lvl8pPr marL="3044256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8pPr>
      <a:lvl9pPr marL="3479155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96" name="think-cell Slide" r:id="rId56" imgW="270" imgH="270" progId="TCLayout.ActiveDocument.1">
                  <p:embed/>
                </p:oleObj>
              </mc:Choice>
              <mc:Fallback>
                <p:oleObj name="think-cell Slide" r:id="rId5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332497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  <p:sldLayoutId id="2147484225" r:id="rId20"/>
    <p:sldLayoutId id="2147484226" r:id="rId21"/>
    <p:sldLayoutId id="2147484227" r:id="rId22"/>
    <p:sldLayoutId id="2147484228" r:id="rId23"/>
    <p:sldLayoutId id="2147484229" r:id="rId24"/>
    <p:sldLayoutId id="2147484230" r:id="rId25"/>
    <p:sldLayoutId id="2147484231" r:id="rId26"/>
    <p:sldLayoutId id="2147484232" r:id="rId27"/>
    <p:sldLayoutId id="2147484233" r:id="rId28"/>
    <p:sldLayoutId id="2147484234" r:id="rId29"/>
    <p:sldLayoutId id="2147484235" r:id="rId30"/>
    <p:sldLayoutId id="2147484236" r:id="rId31"/>
    <p:sldLayoutId id="2147484237" r:id="rId32"/>
    <p:sldLayoutId id="2147484238" r:id="rId33"/>
    <p:sldLayoutId id="2147484239" r:id="rId34"/>
    <p:sldLayoutId id="2147484240" r:id="rId35"/>
    <p:sldLayoutId id="2147484241" r:id="rId36"/>
    <p:sldLayoutId id="2147484242" r:id="rId37"/>
    <p:sldLayoutId id="2147484243" r:id="rId38"/>
    <p:sldLayoutId id="2147484244" r:id="rId39"/>
    <p:sldLayoutId id="2147484245" r:id="rId40"/>
    <p:sldLayoutId id="2147484246" r:id="rId41"/>
    <p:sldLayoutId id="2147484247" r:id="rId42"/>
    <p:sldLayoutId id="2147484248" r:id="rId43"/>
    <p:sldLayoutId id="2147484249" r:id="rId44"/>
    <p:sldLayoutId id="2147484250" r:id="rId45"/>
    <p:sldLayoutId id="2147484251" r:id="rId46"/>
    <p:sldLayoutId id="2147484252" r:id="rId47"/>
    <p:sldLayoutId id="2147484253" r:id="rId48"/>
    <p:sldLayoutId id="2147484254" r:id="rId49"/>
    <p:sldLayoutId id="2147484255" r:id="rId50"/>
    <p:sldLayoutId id="2147484256" r:id="rId51"/>
    <p:sldLayoutId id="2147484257" r:id="rId5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4472C4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8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3636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  <p:sldLayoutId id="2147484285" r:id="rId12"/>
    <p:sldLayoutId id="2147484286" r:id="rId13"/>
    <p:sldLayoutId id="2147484287" r:id="rId14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4482" y="350115"/>
            <a:ext cx="11230029" cy="630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MX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0628" y="1190382"/>
            <a:ext cx="11230029" cy="5219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MX"/>
              <a:t>Click to edit Master text styles</a:t>
            </a:r>
          </a:p>
          <a:p>
            <a:pPr lvl="1"/>
            <a:r>
              <a:rPr lang="en-US" altLang="es-MX"/>
              <a:t>Second level</a:t>
            </a:r>
          </a:p>
          <a:p>
            <a:pPr lvl="2"/>
            <a:r>
              <a:rPr lang="en-US" altLang="es-MX"/>
              <a:t>Third level</a:t>
            </a:r>
          </a:p>
          <a:p>
            <a:pPr lvl="3"/>
            <a:r>
              <a:rPr lang="en-US" altLang="es-MX"/>
              <a:t>Fourth level</a:t>
            </a:r>
          </a:p>
          <a:p>
            <a:pPr lvl="4"/>
            <a:r>
              <a:rPr lang="en-US" altLang="es-MX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54099" y="6554108"/>
            <a:ext cx="377092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1" hangingPunct="1">
              <a:lnSpc>
                <a:spcPts val="1077"/>
              </a:lnSpc>
              <a:defRPr sz="900" b="1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B70FD9-93A3-4F7E-AEAC-A89C9DCACB4E}" type="slidenum">
              <a:rPr lang="en-US" altLang="es-MX">
                <a:solidFill>
                  <a:srgbClr val="002776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s-MX" dirty="0">
              <a:solidFill>
                <a:srgbClr val="002776"/>
              </a:solidFill>
              <a:cs typeface="Arial" panose="020B0604020202020204" pitchFamily="34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029309" y="6554108"/>
            <a:ext cx="5756424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1" hangingPunct="1">
              <a:lnSpc>
                <a:spcPts val="1077"/>
              </a:lnSpc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6449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</p:sldLayoutIdLst>
  <p:hf hdr="0" ftr="0" dt="0"/>
  <p:txStyles>
    <p:titleStyle>
      <a:lvl1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2pPr>
      <a:lvl3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3pPr>
      <a:lvl4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4pPr>
      <a:lvl5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5pPr>
      <a:lvl6pPr marL="410002" algn="l" defTabSz="91396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6pPr>
      <a:lvl7pPr marL="820007" algn="l" defTabSz="91396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7pPr>
      <a:lvl8pPr marL="1230009" algn="l" defTabSz="91396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8pPr>
      <a:lvl9pPr marL="1640010" algn="l" defTabSz="91396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9pPr>
    </p:titleStyle>
    <p:bodyStyle>
      <a:lvl1pPr marL="307503" indent="-307503" algn="l" defTabSz="91396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defRPr>
          <a:solidFill>
            <a:schemeClr val="tx2"/>
          </a:solidFill>
          <a:latin typeface="+mn-lt"/>
          <a:ea typeface="+mn-ea"/>
          <a:cs typeface="+mn-cs"/>
        </a:defRPr>
      </a:lvl1pPr>
      <a:lvl2pPr marL="182223" indent="-182223" algn="l" defTabSz="91396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buChar char="•"/>
        <a:defRPr>
          <a:solidFill>
            <a:schemeClr val="tx2"/>
          </a:solidFill>
          <a:latin typeface="+mn-lt"/>
        </a:defRPr>
      </a:lvl2pPr>
      <a:lvl3pPr marL="357330" indent="-175106" algn="l" defTabSz="91396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buChar char="‒"/>
        <a:defRPr>
          <a:solidFill>
            <a:schemeClr val="tx2"/>
          </a:solidFill>
          <a:latin typeface="+mn-lt"/>
        </a:defRPr>
      </a:lvl3pPr>
      <a:lvl4pPr marL="539553" indent="-182223" algn="l" defTabSz="913964" rtl="0" eaLnBrk="0" fontAlgn="base" hangingPunct="0">
        <a:spcBef>
          <a:spcPct val="0"/>
        </a:spcBef>
        <a:spcAft>
          <a:spcPts val="538"/>
        </a:spcAft>
        <a:buFont typeface="Arial" panose="020B0604020202020204" pitchFamily="34" charset="0"/>
        <a:buChar char="•"/>
        <a:defRPr sz="1400">
          <a:solidFill>
            <a:schemeClr val="tx2"/>
          </a:solidFill>
          <a:latin typeface="+mn-lt"/>
        </a:defRPr>
      </a:lvl4pPr>
      <a:lvl5pPr marL="711811" indent="-172260" algn="l" defTabSz="913964" rtl="0" eaLnBrk="0" fontAlgn="base" hangingPunct="0">
        <a:spcBef>
          <a:spcPct val="0"/>
        </a:spcBef>
        <a:spcAft>
          <a:spcPts val="538"/>
        </a:spcAft>
        <a:buFont typeface="Arial" panose="020B0604020202020204" pitchFamily="34" charset="0"/>
        <a:buChar char="‒"/>
        <a:defRPr sz="1400">
          <a:solidFill>
            <a:schemeClr val="tx2"/>
          </a:solidFill>
          <a:latin typeface="+mn-lt"/>
        </a:defRPr>
      </a:lvl5pPr>
      <a:lvl6pPr marL="1121812" indent="-172260" algn="l" defTabSz="91396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6pPr>
      <a:lvl7pPr marL="1531816" indent="-172260" algn="l" defTabSz="91396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7pPr>
      <a:lvl8pPr marL="1941818" indent="-172260" algn="l" defTabSz="91396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8pPr>
      <a:lvl9pPr marL="2351820" indent="-172260" algn="l" defTabSz="91396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9pPr>
    </p:bodyStyle>
    <p:otherStyle>
      <a:defPPr>
        <a:defRPr lang="es-MX"/>
      </a:defPPr>
      <a:lvl1pPr marL="0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002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007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009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010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013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0016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0018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0021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27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2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0119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  <p:sldLayoutId id="2147484321" r:id="rId12"/>
    <p:sldLayoutId id="2147484322" r:id="rId13"/>
    <p:sldLayoutId id="2147484323" r:id="rId14"/>
    <p:sldLayoutId id="2147484325" r:id="rId15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67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19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5242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7" r:id="rId1"/>
    <p:sldLayoutId id="2147484378" r:id="rId2"/>
    <p:sldLayoutId id="2147484379" r:id="rId3"/>
    <p:sldLayoutId id="2147484380" r:id="rId4"/>
    <p:sldLayoutId id="2147484381" r:id="rId5"/>
    <p:sldLayoutId id="2147484382" r:id="rId6"/>
    <p:sldLayoutId id="2147484383" r:id="rId7"/>
    <p:sldLayoutId id="2147484384" r:id="rId8"/>
    <p:sldLayoutId id="2147484385" r:id="rId9"/>
    <p:sldLayoutId id="2147484386" r:id="rId10"/>
    <p:sldLayoutId id="2147484387" r:id="rId11"/>
    <p:sldLayoutId id="2147484388" r:id="rId12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95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65095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29" r:id="rId11"/>
    <p:sldLayoutId id="2147484430" r:id="rId12"/>
    <p:sldLayoutId id="2147484431" r:id="rId13"/>
    <p:sldLayoutId id="2147484432" r:id="rId14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56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0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2620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4" r:id="rId1"/>
    <p:sldLayoutId id="2147484495" r:id="rId2"/>
    <p:sldLayoutId id="2147484496" r:id="rId3"/>
    <p:sldLayoutId id="2147484497" r:id="rId4"/>
    <p:sldLayoutId id="2147484498" r:id="rId5"/>
    <p:sldLayoutId id="2147484499" r:id="rId6"/>
    <p:sldLayoutId id="2147484500" r:id="rId7"/>
    <p:sldLayoutId id="2147484501" r:id="rId8"/>
    <p:sldLayoutId id="2147484502" r:id="rId9"/>
    <p:sldLayoutId id="2147484503" r:id="rId10"/>
    <p:sldLayoutId id="2147484504" r:id="rId11"/>
    <p:sldLayoutId id="2147484505" r:id="rId12"/>
    <p:sldLayoutId id="2147484506" r:id="rId13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81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5568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9" r:id="rId1"/>
    <p:sldLayoutId id="2147484540" r:id="rId2"/>
    <p:sldLayoutId id="2147484541" r:id="rId3"/>
    <p:sldLayoutId id="2147484542" r:id="rId4"/>
    <p:sldLayoutId id="2147484543" r:id="rId5"/>
    <p:sldLayoutId id="2147484544" r:id="rId6"/>
    <p:sldLayoutId id="2147484545" r:id="rId7"/>
    <p:sldLayoutId id="2147484546" r:id="rId8"/>
    <p:sldLayoutId id="2147484547" r:id="rId9"/>
    <p:sldLayoutId id="2147484548" r:id="rId10"/>
    <p:sldLayoutId id="2147484549" r:id="rId11"/>
    <p:sldLayoutId id="2147484550" r:id="rId12"/>
    <p:sldLayoutId id="2147484551" r:id="rId13"/>
    <p:sldLayoutId id="2147484552" r:id="rId14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4478" y="350113"/>
            <a:ext cx="11230029" cy="630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MX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0628" y="1190382"/>
            <a:ext cx="11230029" cy="5219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MX"/>
              <a:t>Click to edit Master text styles</a:t>
            </a:r>
          </a:p>
          <a:p>
            <a:pPr lvl="1"/>
            <a:r>
              <a:rPr lang="en-US" altLang="es-MX"/>
              <a:t>Second level</a:t>
            </a:r>
          </a:p>
          <a:p>
            <a:pPr lvl="2"/>
            <a:r>
              <a:rPr lang="en-US" altLang="es-MX"/>
              <a:t>Third level</a:t>
            </a:r>
          </a:p>
          <a:p>
            <a:pPr lvl="3"/>
            <a:r>
              <a:rPr lang="en-US" altLang="es-MX"/>
              <a:t>Fourth level</a:t>
            </a:r>
          </a:p>
          <a:p>
            <a:pPr lvl="4"/>
            <a:r>
              <a:rPr lang="en-US" altLang="es-MX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54097" y="6554105"/>
            <a:ext cx="377092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1" hangingPunct="1">
              <a:lnSpc>
                <a:spcPts val="1077"/>
              </a:lnSpc>
              <a:defRPr sz="900" b="1">
                <a:solidFill>
                  <a:schemeClr val="tx2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69B70FD9-93A3-4F7E-AEAC-A89C9DCACB4E}" type="slidenum">
              <a:rPr lang="en-US" altLang="es-MX" smtClean="0">
                <a:solidFill>
                  <a:srgbClr val="002776"/>
                </a:solidFill>
                <a:cs typeface="Arial" panose="020B0604020202020204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s-MX" dirty="0">
              <a:solidFill>
                <a:srgbClr val="002776"/>
              </a:solidFill>
              <a:cs typeface="Arial" panose="020B0604020202020204" pitchFamily="34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029309" y="6554105"/>
            <a:ext cx="5756424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1" hangingPunct="1">
              <a:lnSpc>
                <a:spcPts val="1077"/>
              </a:lnSpc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  <a:endParaRPr lang="en-US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524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</p:sldLayoutIdLst>
  <p:hf hdr="0" ftr="0" dt="0"/>
  <p:txStyles>
    <p:titleStyle>
      <a:lvl1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2pPr>
      <a:lvl3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3pPr>
      <a:lvl4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4pPr>
      <a:lvl5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5pPr>
      <a:lvl6pPr marL="410200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6pPr>
      <a:lvl7pPr marL="820400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7pPr>
      <a:lvl8pPr marL="1230600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8pPr>
      <a:lvl9pPr marL="1640799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9pPr>
    </p:titleStyle>
    <p:bodyStyle>
      <a:lvl1pPr marL="307650" indent="-307650" algn="l" defTabSz="91440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defRPr>
          <a:solidFill>
            <a:schemeClr val="tx2"/>
          </a:solidFill>
          <a:latin typeface="+mn-lt"/>
          <a:ea typeface="+mn-ea"/>
          <a:cs typeface="+mn-cs"/>
        </a:defRPr>
      </a:lvl1pPr>
      <a:lvl2pPr marL="182311" indent="-182311" algn="l" defTabSz="91440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buChar char="•"/>
        <a:defRPr>
          <a:solidFill>
            <a:schemeClr val="tx2"/>
          </a:solidFill>
          <a:latin typeface="+mn-lt"/>
        </a:defRPr>
      </a:lvl2pPr>
      <a:lvl3pPr marL="357501" indent="-175190" algn="l" defTabSz="91440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buChar char="‒"/>
        <a:defRPr>
          <a:solidFill>
            <a:schemeClr val="tx2"/>
          </a:solidFill>
          <a:latin typeface="+mn-lt"/>
        </a:defRPr>
      </a:lvl3pPr>
      <a:lvl4pPr marL="539812" indent="-182311" algn="l" defTabSz="914404" rtl="0" eaLnBrk="0" fontAlgn="base" hangingPunct="0">
        <a:spcBef>
          <a:spcPct val="0"/>
        </a:spcBef>
        <a:spcAft>
          <a:spcPts val="538"/>
        </a:spcAft>
        <a:buFont typeface="Arial" panose="020B0604020202020204" pitchFamily="34" charset="0"/>
        <a:buChar char="•"/>
        <a:defRPr sz="1400">
          <a:solidFill>
            <a:schemeClr val="tx2"/>
          </a:solidFill>
          <a:latin typeface="+mn-lt"/>
        </a:defRPr>
      </a:lvl4pPr>
      <a:lvl5pPr marL="712153" indent="-172341" algn="l" defTabSz="914404" rtl="0" eaLnBrk="0" fontAlgn="base" hangingPunct="0">
        <a:spcBef>
          <a:spcPct val="0"/>
        </a:spcBef>
        <a:spcAft>
          <a:spcPts val="538"/>
        </a:spcAft>
        <a:buFont typeface="Arial" panose="020B0604020202020204" pitchFamily="34" charset="0"/>
        <a:buChar char="‒"/>
        <a:defRPr sz="1400">
          <a:solidFill>
            <a:schemeClr val="tx2"/>
          </a:solidFill>
          <a:latin typeface="+mn-lt"/>
        </a:defRPr>
      </a:lvl5pPr>
      <a:lvl6pPr marL="1122352" indent="-172341" algn="l" defTabSz="91440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6pPr>
      <a:lvl7pPr marL="1532552" indent="-172341" algn="l" defTabSz="91440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7pPr>
      <a:lvl8pPr marL="1942752" indent="-172341" algn="l" defTabSz="91440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8pPr>
      <a:lvl9pPr marL="2352952" indent="-172341" algn="l" defTabSz="91440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9pPr>
    </p:bodyStyle>
    <p:otherStyle>
      <a:defPPr>
        <a:defRPr lang="es-MX"/>
      </a:defPPr>
      <a:lvl1pPr marL="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4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6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7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9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1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3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5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9" y="314325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21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40" y="6440497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3" y="6440497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97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23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925" indent="-288925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413" indent="-23018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725" indent="-227013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863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10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82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54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6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8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7" y="314325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6" y="1344618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7" y="6440493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3" y="6440493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93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78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925" indent="-288925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413" indent="-23018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725" indent="-227013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863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10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82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54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6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8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92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>
            <p:custDataLst>
              <p:tags r:id="rId15"/>
            </p:custDataLst>
          </p:nvPr>
        </p:nvSpPr>
        <p:spPr>
          <a:xfrm>
            <a:off x="393794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914400"/>
            <a:r>
              <a:rPr lang="en-US" sz="700" dirty="0">
                <a:solidFill>
                  <a:srgbClr val="808080"/>
                </a:solidFill>
                <a:cs typeface="Arial"/>
                <a:sym typeface="Arial"/>
              </a:rPr>
              <a:t>196301-97 - Deep dive on indicators - v17_01Nov17_JT_v01_extract_2017-11.._.pptx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7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91440" tIns="54864" rIns="91440" bIns="45720" rtlCol="0" anchor="t" anchorCtr="0">
            <a:noAutofit/>
          </a:bodyPr>
          <a:lstStyle/>
          <a:p>
            <a:pPr algn="r" defTabSz="914400">
              <a:defRPr/>
            </a:pPr>
            <a:fld id="{8FDC6993-5875-43F1-AB5B-56FAFD3221C9}" type="slidenum">
              <a:rPr lang="en-US" sz="1000" smtClean="0">
                <a:solidFill>
                  <a:srgbClr val="FFFFFF"/>
                </a:solidFill>
              </a:rPr>
              <a:pPr algn="r" defTabSz="914400">
                <a:defRPr/>
              </a:pPr>
              <a:t>‹#›</a:t>
            </a:fld>
            <a:endParaRPr lang="en-US" sz="1000" dirty="0">
              <a:solidFill>
                <a:srgbClr val="FFFFFF"/>
              </a:solidFill>
            </a:endParaRPr>
          </a:p>
          <a:p>
            <a:pPr defTabSz="914400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4"/>
            <a:ext cx="7939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000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/>
              <a:t>‹#›</a:t>
            </a:fld>
            <a:endParaRPr lang="en-US" sz="1000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30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19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47099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2D72"/>
        </a:buClr>
        <a:buFont typeface="Arial" pitchFamily="34" charset="0"/>
        <a:buChar char="•"/>
        <a:defRPr sz="16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2D72"/>
        </a:buClr>
        <a:buFont typeface="Arial" pitchFamily="34" charset="0"/>
        <a:buChar char="–"/>
        <a:defRPr sz="16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2D72"/>
        </a:buClr>
        <a:buFont typeface="Arial" pitchFamily="34" charset="0"/>
        <a:buChar char="–"/>
        <a:defRPr sz="16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2D72"/>
        </a:buClr>
        <a:buFont typeface="Arial" pitchFamily="34" charset="0"/>
        <a:buChar char="–"/>
        <a:defRPr sz="16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5" y="314326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17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7" y="6440492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  <a:ea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5" y="6440492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92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41035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127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253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38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507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879" indent="-288879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311" indent="-23015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569" indent="-226976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653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0735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7862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4989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115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242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4" y="314325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14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4" y="6440489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>
              <a:defRPr/>
            </a:pPr>
            <a:fld id="{410BB04A-6CB2-A14D-B6AF-586C8C166ED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3" y="6440489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MM.DD.YY</a:t>
            </a: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89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09719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4199" r:id="rId9"/>
    <p:sldLayoutId id="2147484200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925" indent="-288925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413" indent="-23018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725" indent="-227013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863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10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82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54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6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8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4" y="314325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14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4" y="6440489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3" y="6440489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89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45636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4197" r:id="rId9"/>
    <p:sldLayoutId id="2147484198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925" indent="-288925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413" indent="-23018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725" indent="-227013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863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10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82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54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6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8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6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/>
          <p:nvPr/>
        </p:nvSpPr>
        <p:spPr>
          <a:xfrm>
            <a:off x="2752303" y="718778"/>
            <a:ext cx="7656393" cy="6463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lnSpc>
                <a:spcPct val="90000"/>
              </a:lnSpc>
              <a:defRPr sz="55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s-MX" sz="4000" dirty="0">
                <a:solidFill>
                  <a:srgbClr val="86CBD8"/>
                </a:solidFill>
              </a:rPr>
              <a:t>MX2020 Big Data</a:t>
            </a:r>
            <a:endParaRPr sz="4000" dirty="0">
              <a:solidFill>
                <a:srgbClr val="86CBD8"/>
              </a:solidFill>
            </a:endParaRPr>
          </a:p>
        </p:txBody>
      </p:sp>
      <p:sp>
        <p:nvSpPr>
          <p:cNvPr id="4" name="Rectangle 3"/>
          <p:cNvSpPr txBox="1"/>
          <p:nvPr/>
        </p:nvSpPr>
        <p:spPr>
          <a:xfrm>
            <a:off x="2981315" y="5529972"/>
            <a:ext cx="7585857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1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r"/>
            <a:r>
              <a:rPr lang="en-US" dirty="0">
                <a:solidFill>
                  <a:srgbClr val="7C194F"/>
                </a:solidFill>
              </a:rPr>
              <a:t>February 05, 2020</a:t>
            </a:r>
          </a:p>
        </p:txBody>
      </p:sp>
      <p:sp>
        <p:nvSpPr>
          <p:cNvPr id="5" name="Rectángulo 4"/>
          <p:cNvSpPr/>
          <p:nvPr/>
        </p:nvSpPr>
        <p:spPr>
          <a:xfrm>
            <a:off x="2981314" y="2285540"/>
            <a:ext cx="7278254" cy="707882"/>
          </a:xfrm>
          <a:prstGeom prst="rect">
            <a:avLst/>
          </a:prstGeom>
          <a:ln w="12700">
            <a:miter lim="400000"/>
          </a:ln>
        </p:spPr>
        <p:txBody>
          <a:bodyPr wrap="square" lIns="45718" tIns="45718" rIns="45718" bIns="45718">
            <a:spAutoFit/>
          </a:bodyPr>
          <a:lstStyle/>
          <a:p>
            <a:pPr defTabSz="914400"/>
            <a:r>
              <a:rPr lang="es-MX" sz="2000" b="1" dirty="0">
                <a:solidFill>
                  <a:srgbClr val="016AA2"/>
                </a:solidFill>
                <a:latin typeface="Arial"/>
                <a:ea typeface="Arial"/>
                <a:cs typeface="Arial"/>
              </a:rPr>
              <a:t>GCG </a:t>
            </a:r>
            <a:r>
              <a:rPr lang="en-US" sz="2000" b="1" dirty="0">
                <a:solidFill>
                  <a:srgbClr val="016AA2"/>
                </a:solidFill>
                <a:latin typeface="Arial"/>
                <a:ea typeface="Arial"/>
                <a:cs typeface="Arial"/>
                <a:sym typeface="Arial"/>
              </a:rPr>
              <a:t>Mexico</a:t>
            </a:r>
            <a:r>
              <a:rPr lang="es-MX" sz="2000" b="1" dirty="0">
                <a:solidFill>
                  <a:srgbClr val="016AA2"/>
                </a:solidFill>
                <a:latin typeface="Arial"/>
                <a:ea typeface="Arial"/>
                <a:cs typeface="Arial"/>
              </a:rPr>
              <a:t> – </a:t>
            </a:r>
            <a:r>
              <a:rPr lang="en-US" sz="2000" b="1" dirty="0">
                <a:solidFill>
                  <a:srgbClr val="87CBD8"/>
                </a:solidFill>
              </a:rPr>
              <a:t>Architecting HBase Applications</a:t>
            </a:r>
          </a:p>
          <a:p>
            <a:pPr defTabSz="914400"/>
            <a:endParaRPr lang="en-US" sz="2000" b="1" dirty="0">
              <a:solidFill>
                <a:srgbClr val="016AA2"/>
              </a:solidFill>
              <a:latin typeface="Arial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5091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3"/>
          <p:cNvSpPr txBox="1"/>
          <p:nvPr/>
        </p:nvSpPr>
        <p:spPr>
          <a:xfrm>
            <a:off x="420831" y="637567"/>
            <a:ext cx="5675169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000">
                <a:solidFill>
                  <a:srgbClr val="104D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/>
            </a:pPr>
            <a:r>
              <a:rPr lang="en-US" sz="1800" b="1" dirty="0">
                <a:solidFill>
                  <a:srgbClr val="87CBD8"/>
                </a:solidFill>
              </a:rPr>
              <a:t>Global Technical Map of Architecture</a:t>
            </a: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51E0C841-ED3D-2F4C-9A84-F2C04DC16BC0}"/>
              </a:ext>
            </a:extLst>
          </p:cNvPr>
          <p:cNvSpPr txBox="1"/>
          <p:nvPr/>
        </p:nvSpPr>
        <p:spPr>
          <a:xfrm>
            <a:off x="404809" y="237462"/>
            <a:ext cx="5816248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Needs and Solution Proposal (IV)</a:t>
            </a:r>
          </a:p>
        </p:txBody>
      </p:sp>
      <p:grpSp>
        <p:nvGrpSpPr>
          <p:cNvPr id="74" name="90 Grupo">
            <a:extLst>
              <a:ext uri="{FF2B5EF4-FFF2-40B4-BE49-F238E27FC236}">
                <a16:creationId xmlns:a16="http://schemas.microsoft.com/office/drawing/2014/main" id="{6BF0668D-2569-854F-B29F-A231DA32F013}"/>
              </a:ext>
            </a:extLst>
          </p:cNvPr>
          <p:cNvGrpSpPr>
            <a:grpSpLocks/>
          </p:cNvGrpSpPr>
          <p:nvPr/>
        </p:nvGrpSpPr>
        <p:grpSpPr bwMode="auto">
          <a:xfrm>
            <a:off x="9075237" y="186443"/>
            <a:ext cx="2891570" cy="638175"/>
            <a:chOff x="6746875" y="1552575"/>
            <a:chExt cx="2891570" cy="638175"/>
          </a:xfrm>
        </p:grpSpPr>
        <p:sp>
          <p:nvSpPr>
            <p:cNvPr id="75" name="Text Box 114">
              <a:extLst>
                <a:ext uri="{FF2B5EF4-FFF2-40B4-BE49-F238E27FC236}">
                  <a16:creationId xmlns:a16="http://schemas.microsoft.com/office/drawing/2014/main" id="{A27BFCD2-6C67-9944-AF31-3D3F92F059C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59588" y="1649413"/>
              <a:ext cx="508000" cy="84137"/>
            </a:xfrm>
            <a:prstGeom prst="rect">
              <a:avLst/>
            </a:prstGeom>
            <a:solidFill>
              <a:srgbClr val="87CBD8">
                <a:alpha val="62000"/>
              </a:srgbClr>
            </a:solidFill>
            <a:ln w="12700">
              <a:solidFill>
                <a:srgbClr val="0067B7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defPPr>
                <a:defRPr lang="es-ES"/>
              </a:defPPr>
              <a:lvl1pPr algn="ctr" defTabSz="449263" eaLnBrk="0" hangingPunct="0">
                <a:buSzPct val="13000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600" b="1">
                  <a:solidFill>
                    <a:schemeClr val="bg1"/>
                  </a:solidFill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accent2"/>
                </a:buClr>
                <a:buFont typeface="Wingdings" panose="05000000000000000000" pitchFamily="2" charset="2"/>
                <a:buNone/>
                <a:defRPr/>
              </a:pPr>
              <a:endParaRPr lang="en-GB" altLang="pt-BR" dirty="0">
                <a:latin typeface="Arial" charset="0"/>
              </a:endParaRPr>
            </a:p>
          </p:txBody>
        </p:sp>
        <p:sp>
          <p:nvSpPr>
            <p:cNvPr id="78" name="Text Box 115">
              <a:extLst>
                <a:ext uri="{FF2B5EF4-FFF2-40B4-BE49-F238E27FC236}">
                  <a16:creationId xmlns:a16="http://schemas.microsoft.com/office/drawing/2014/main" id="{273129C4-A756-D943-974A-89FE09D5B80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64350" y="1993900"/>
              <a:ext cx="501650" cy="88900"/>
            </a:xfrm>
            <a:prstGeom prst="rect">
              <a:avLst/>
            </a:prstGeom>
            <a:solidFill>
              <a:srgbClr val="C5277F">
                <a:alpha val="65000"/>
              </a:srgbClr>
            </a:solidFill>
            <a:ln w="12700">
              <a:solidFill>
                <a:srgbClr val="7C1A4D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79" name="Text Box 117">
              <a:extLst>
                <a:ext uri="{FF2B5EF4-FFF2-40B4-BE49-F238E27FC236}">
                  <a16:creationId xmlns:a16="http://schemas.microsoft.com/office/drawing/2014/main" id="{D436F578-60E7-A64A-9610-ECF3D0BEAC4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80288" y="1581150"/>
              <a:ext cx="1018227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accent2"/>
                </a:buClr>
                <a:buNone/>
              </a:pPr>
              <a:r>
                <a:rPr lang="en-US" altLang="pt-BR" sz="900" b="0" dirty="0">
                  <a:solidFill>
                    <a:schemeClr val="tx1"/>
                  </a:solidFill>
                  <a:cs typeface="Arial" panose="020B0604020202020204" pitchFamily="34" charset="0"/>
                </a:rPr>
                <a:t>New component</a:t>
              </a:r>
            </a:p>
          </p:txBody>
        </p:sp>
        <p:sp>
          <p:nvSpPr>
            <p:cNvPr id="80" name="Text Box 118">
              <a:extLst>
                <a:ext uri="{FF2B5EF4-FFF2-40B4-BE49-F238E27FC236}">
                  <a16:creationId xmlns:a16="http://schemas.microsoft.com/office/drawing/2014/main" id="{0E54A7A7-85F9-8544-8819-407A45E6CE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76287" y="1952244"/>
              <a:ext cx="1697901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accent2"/>
                </a:buClr>
                <a:buNone/>
              </a:pPr>
              <a:r>
                <a:rPr lang="en-US" altLang="pt-BR" sz="900" b="0" dirty="0">
                  <a:solidFill>
                    <a:schemeClr val="tx1"/>
                  </a:solidFill>
                  <a:cs typeface="Arial" panose="020B0604020202020204" pitchFamily="34" charset="0"/>
                </a:rPr>
                <a:t>Component not contemplated</a:t>
              </a:r>
            </a:p>
          </p:txBody>
        </p:sp>
        <p:sp>
          <p:nvSpPr>
            <p:cNvPr id="81" name="Rectangle 119">
              <a:extLst>
                <a:ext uri="{FF2B5EF4-FFF2-40B4-BE49-F238E27FC236}">
                  <a16:creationId xmlns:a16="http://schemas.microsoft.com/office/drawing/2014/main" id="{8108238C-E037-4345-AB56-82E0519A4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6875" y="1552575"/>
              <a:ext cx="2891570" cy="6381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accent2"/>
                </a:buClr>
                <a:buFont typeface="Wingdings" pitchFamily="2" charset="2"/>
                <a:buNone/>
              </a:pPr>
              <a:endParaRPr lang="pt-BR" altLang="pt-BR" b="0">
                <a:solidFill>
                  <a:schemeClr val="tx1"/>
                </a:solidFill>
              </a:endParaRPr>
            </a:p>
          </p:txBody>
        </p:sp>
        <p:sp>
          <p:nvSpPr>
            <p:cNvPr id="82" name="Text Box 115">
              <a:extLst>
                <a:ext uri="{FF2B5EF4-FFF2-40B4-BE49-F238E27FC236}">
                  <a16:creationId xmlns:a16="http://schemas.microsoft.com/office/drawing/2014/main" id="{B5C93A85-4FF6-1444-B243-FBF1334C9F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58000" y="1827213"/>
              <a:ext cx="501650" cy="88900"/>
            </a:xfrm>
            <a:prstGeom prst="rect">
              <a:avLst/>
            </a:prstGeom>
            <a:solidFill>
              <a:srgbClr val="0067B7">
                <a:alpha val="67000"/>
              </a:srgb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83" name="Text Box 117">
              <a:extLst>
                <a:ext uri="{FF2B5EF4-FFF2-40B4-BE49-F238E27FC236}">
                  <a16:creationId xmlns:a16="http://schemas.microsoft.com/office/drawing/2014/main" id="{7CF32346-1CA6-9046-97FF-595D81B58E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9556" y="1774063"/>
              <a:ext cx="128112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accent2"/>
                </a:buClr>
                <a:buNone/>
              </a:pPr>
              <a:r>
                <a:rPr lang="en-US" sz="900" b="0" dirty="0">
                  <a:solidFill>
                    <a:schemeClr val="tx1"/>
                  </a:solidFill>
                  <a:cs typeface="Arial" panose="020B0604020202020204" pitchFamily="34" charset="0"/>
                </a:rPr>
                <a:t>Component to modify</a:t>
              </a:r>
              <a:endParaRPr lang="es-ES" altLang="pt-BR" sz="900" b="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49D75F6-B8FF-4D46-B59B-B02C450C72F2}"/>
              </a:ext>
            </a:extLst>
          </p:cNvPr>
          <p:cNvGrpSpPr/>
          <p:nvPr/>
        </p:nvGrpSpPr>
        <p:grpSpPr>
          <a:xfrm>
            <a:off x="2878714" y="1930455"/>
            <a:ext cx="6434571" cy="1889506"/>
            <a:chOff x="2878714" y="1930455"/>
            <a:chExt cx="6434571" cy="188950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61C0210-62D5-1049-BA43-76168E711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78714" y="1930455"/>
              <a:ext cx="6434571" cy="1889506"/>
            </a:xfrm>
            <a:prstGeom prst="rect">
              <a:avLst/>
            </a:prstGeom>
          </p:spPr>
        </p:pic>
        <p:sp>
          <p:nvSpPr>
            <p:cNvPr id="85" name="Text Box 114">
              <a:extLst>
                <a:ext uri="{FF2B5EF4-FFF2-40B4-BE49-F238E27FC236}">
                  <a16:creationId xmlns:a16="http://schemas.microsoft.com/office/drawing/2014/main" id="{09DC0F63-73F8-AB4B-80FE-57F34B8829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4011" y="2414016"/>
              <a:ext cx="1255110" cy="666895"/>
            </a:xfrm>
            <a:prstGeom prst="rect">
              <a:avLst/>
            </a:prstGeom>
            <a:solidFill>
              <a:srgbClr val="87CBD8">
                <a:alpha val="28000"/>
              </a:srgbClr>
            </a:solidFill>
            <a:ln w="12700">
              <a:solidFill>
                <a:srgbClr val="0067B7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defPPr>
                <a:defRPr lang="es-ES"/>
              </a:defPPr>
              <a:lvl1pPr algn="ctr" defTabSz="449263" eaLnBrk="0" hangingPunct="0">
                <a:buSzPct val="13000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600" b="1">
                  <a:solidFill>
                    <a:schemeClr val="bg1"/>
                  </a:solidFill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cs typeface="Arial" charset="0"/>
                </a:defRPr>
              </a:lvl9pPr>
            </a:lstStyle>
            <a:p>
              <a:pPr>
                <a:spcBef>
                  <a:spcPct val="20000"/>
                </a:spcBef>
                <a:buClr>
                  <a:schemeClr val="accent2"/>
                </a:buClr>
                <a:buFont typeface="Wingdings" panose="05000000000000000000" pitchFamily="2" charset="2"/>
                <a:buNone/>
                <a:defRPr/>
              </a:pPr>
              <a:endParaRPr lang="en-GB" altLang="pt-BR" dirty="0">
                <a:latin typeface="Arial" charset="0"/>
              </a:endParaRPr>
            </a:p>
          </p:txBody>
        </p:sp>
        <p:sp>
          <p:nvSpPr>
            <p:cNvPr id="90" name="Text Box 115">
              <a:extLst>
                <a:ext uri="{FF2B5EF4-FFF2-40B4-BE49-F238E27FC236}">
                  <a16:creationId xmlns:a16="http://schemas.microsoft.com/office/drawing/2014/main" id="{56EF2634-1068-CD43-A450-9E64AA16B8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73918" y="2450592"/>
              <a:ext cx="1255110" cy="660010"/>
            </a:xfrm>
            <a:prstGeom prst="rect">
              <a:avLst/>
            </a:prstGeom>
            <a:solidFill>
              <a:srgbClr val="0067B7">
                <a:alpha val="47000"/>
              </a:srgb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1" name="Text Box 115">
              <a:extLst>
                <a:ext uri="{FF2B5EF4-FFF2-40B4-BE49-F238E27FC236}">
                  <a16:creationId xmlns:a16="http://schemas.microsoft.com/office/drawing/2014/main" id="{BFC7B260-4015-1847-A55A-C9B76658FF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73457" y="2203703"/>
              <a:ext cx="950579" cy="530951"/>
            </a:xfrm>
            <a:prstGeom prst="rect">
              <a:avLst/>
            </a:prstGeom>
            <a:solidFill>
              <a:srgbClr val="0067B7">
                <a:alpha val="47000"/>
              </a:srgb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3" name="Text Box 115">
              <a:extLst>
                <a:ext uri="{FF2B5EF4-FFF2-40B4-BE49-F238E27FC236}">
                  <a16:creationId xmlns:a16="http://schemas.microsoft.com/office/drawing/2014/main" id="{C2216621-A971-5741-9812-D6CC298733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13423" y="3090054"/>
              <a:ext cx="950579" cy="538357"/>
            </a:xfrm>
            <a:prstGeom prst="rect">
              <a:avLst/>
            </a:prstGeom>
            <a:solidFill>
              <a:srgbClr val="0067B7">
                <a:alpha val="47000"/>
              </a:srgb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48009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Rectangle 150">
            <a:extLst>
              <a:ext uri="{FF2B5EF4-FFF2-40B4-BE49-F238E27FC236}">
                <a16:creationId xmlns:a16="http://schemas.microsoft.com/office/drawing/2014/main" id="{201D0639-BB44-C54F-8B8F-68B040C33C42}"/>
              </a:ext>
            </a:extLst>
          </p:cNvPr>
          <p:cNvSpPr/>
          <p:nvPr/>
        </p:nvSpPr>
        <p:spPr>
          <a:xfrm>
            <a:off x="2250732" y="2227400"/>
            <a:ext cx="6791219" cy="39930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3"/>
          <p:cNvSpPr txBox="1"/>
          <p:nvPr/>
        </p:nvSpPr>
        <p:spPr>
          <a:xfrm>
            <a:off x="420831" y="637567"/>
            <a:ext cx="3849511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000">
                <a:solidFill>
                  <a:srgbClr val="104D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/>
            </a:pPr>
            <a:r>
              <a:rPr lang="en-US" sz="1800" b="1" dirty="0">
                <a:solidFill>
                  <a:srgbClr val="87CBD8"/>
                </a:solidFill>
              </a:rPr>
              <a:t>Architecting HBase Applications</a:t>
            </a: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51E0C841-ED3D-2F4C-9A84-F2C04DC16BC0}"/>
              </a:ext>
            </a:extLst>
          </p:cNvPr>
          <p:cNvSpPr txBox="1"/>
          <p:nvPr/>
        </p:nvSpPr>
        <p:spPr>
          <a:xfrm>
            <a:off x="404809" y="237462"/>
            <a:ext cx="5816248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Needs and Solution Proposal (V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CC9F8E-27A6-864E-AC24-9942AEF6EEA2}"/>
              </a:ext>
            </a:extLst>
          </p:cNvPr>
          <p:cNvSpPr/>
          <p:nvPr/>
        </p:nvSpPr>
        <p:spPr>
          <a:xfrm>
            <a:off x="2446908" y="2437921"/>
            <a:ext cx="6421368" cy="2615572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Google Shape;61;p12">
            <a:extLst>
              <a:ext uri="{FF2B5EF4-FFF2-40B4-BE49-F238E27FC236}">
                <a16:creationId xmlns:a16="http://schemas.microsoft.com/office/drawing/2014/main" id="{7FB4743F-A4B7-5142-A3AD-CF5391CE8A92}"/>
              </a:ext>
            </a:extLst>
          </p:cNvPr>
          <p:cNvSpPr txBox="1">
            <a:spLocks/>
          </p:cNvSpPr>
          <p:nvPr/>
        </p:nvSpPr>
        <p:spPr>
          <a:xfrm>
            <a:off x="2558265" y="2450006"/>
            <a:ext cx="986318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torag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314DE94-3C87-CB45-A80C-8109FD51DD2E}"/>
              </a:ext>
            </a:extLst>
          </p:cNvPr>
          <p:cNvGrpSpPr/>
          <p:nvPr/>
        </p:nvGrpSpPr>
        <p:grpSpPr>
          <a:xfrm>
            <a:off x="2835529" y="2814055"/>
            <a:ext cx="1266766" cy="387557"/>
            <a:chOff x="6418304" y="1924127"/>
            <a:chExt cx="1266766" cy="387557"/>
          </a:xfrm>
        </p:grpSpPr>
        <p:sp>
          <p:nvSpPr>
            <p:cNvPr id="77" name="Text Box 115">
              <a:extLst>
                <a:ext uri="{FF2B5EF4-FFF2-40B4-BE49-F238E27FC236}">
                  <a16:creationId xmlns:a16="http://schemas.microsoft.com/office/drawing/2014/main" id="{3B376880-C606-FD4E-9708-16157231EF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87" name="Google Shape;61;p12">
              <a:extLst>
                <a:ext uri="{FF2B5EF4-FFF2-40B4-BE49-F238E27FC236}">
                  <a16:creationId xmlns:a16="http://schemas.microsoft.com/office/drawing/2014/main" id="{BB3AD206-CBBA-0342-89FD-7CF7EEEE6556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Impala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D5F8A6E-940A-0C42-8D41-1C149FA28A27}"/>
              </a:ext>
            </a:extLst>
          </p:cNvPr>
          <p:cNvGrpSpPr/>
          <p:nvPr/>
        </p:nvGrpSpPr>
        <p:grpSpPr>
          <a:xfrm>
            <a:off x="5308055" y="3030113"/>
            <a:ext cx="1266766" cy="387557"/>
            <a:chOff x="6418304" y="1924127"/>
            <a:chExt cx="1266766" cy="387557"/>
          </a:xfrm>
        </p:grpSpPr>
        <p:sp>
          <p:nvSpPr>
            <p:cNvPr id="96" name="Text Box 115">
              <a:extLst>
                <a:ext uri="{FF2B5EF4-FFF2-40B4-BE49-F238E27FC236}">
                  <a16:creationId xmlns:a16="http://schemas.microsoft.com/office/drawing/2014/main" id="{252054EC-2427-F642-83B5-722EA0750A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7" name="Google Shape;61;p12">
              <a:extLst>
                <a:ext uri="{FF2B5EF4-FFF2-40B4-BE49-F238E27FC236}">
                  <a16:creationId xmlns:a16="http://schemas.microsoft.com/office/drawing/2014/main" id="{CFC041A3-700F-A54A-AF48-931538877391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Base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9C03EEB8-7529-0F45-B8D8-3E0505B50A53}"/>
              </a:ext>
            </a:extLst>
          </p:cNvPr>
          <p:cNvGrpSpPr/>
          <p:nvPr/>
        </p:nvGrpSpPr>
        <p:grpSpPr>
          <a:xfrm>
            <a:off x="7442867" y="3030112"/>
            <a:ext cx="1266766" cy="387557"/>
            <a:chOff x="6418304" y="1924127"/>
            <a:chExt cx="1266766" cy="387557"/>
          </a:xfrm>
        </p:grpSpPr>
        <p:sp>
          <p:nvSpPr>
            <p:cNvPr id="99" name="Text Box 115">
              <a:extLst>
                <a:ext uri="{FF2B5EF4-FFF2-40B4-BE49-F238E27FC236}">
                  <a16:creationId xmlns:a16="http://schemas.microsoft.com/office/drawing/2014/main" id="{84C22899-BFDF-9A42-B5A9-E10C01E356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00" name="Google Shape;61;p12">
              <a:extLst>
                <a:ext uri="{FF2B5EF4-FFF2-40B4-BE49-F238E27FC236}">
                  <a16:creationId xmlns:a16="http://schemas.microsoft.com/office/drawing/2014/main" id="{98F81174-ADA6-CF4B-A0D9-8449A2A7ACE5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 err="1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Solr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B83B0D5-5F18-D946-8FF6-4A9536935497}"/>
              </a:ext>
            </a:extLst>
          </p:cNvPr>
          <p:cNvGrpSpPr/>
          <p:nvPr/>
        </p:nvGrpSpPr>
        <p:grpSpPr>
          <a:xfrm>
            <a:off x="2835529" y="3339180"/>
            <a:ext cx="1266766" cy="387557"/>
            <a:chOff x="6418304" y="1924127"/>
            <a:chExt cx="1266766" cy="387557"/>
          </a:xfrm>
        </p:grpSpPr>
        <p:sp>
          <p:nvSpPr>
            <p:cNvPr id="124" name="Text Box 115">
              <a:extLst>
                <a:ext uri="{FF2B5EF4-FFF2-40B4-BE49-F238E27FC236}">
                  <a16:creationId xmlns:a16="http://schemas.microsoft.com/office/drawing/2014/main" id="{6565D9DC-CD18-524D-B2DA-E21422B0B3C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25" name="Google Shape;61;p12">
              <a:extLst>
                <a:ext uri="{FF2B5EF4-FFF2-40B4-BE49-F238E27FC236}">
                  <a16:creationId xmlns:a16="http://schemas.microsoft.com/office/drawing/2014/main" id="{BF5B3463-0FC2-8541-8087-76CF0D4E732D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ive</a:t>
              </a:r>
            </a:p>
          </p:txBody>
        </p:sp>
      </p:grp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09522A19-B6D3-A64C-9617-BF52253E5BE8}"/>
              </a:ext>
            </a:extLst>
          </p:cNvPr>
          <p:cNvCxnSpPr>
            <a:endCxn id="77" idx="3"/>
          </p:cNvCxnSpPr>
          <p:nvPr/>
        </p:nvCxnSpPr>
        <p:spPr>
          <a:xfrm rot="10800000">
            <a:off x="4102295" y="3007834"/>
            <a:ext cx="1154390" cy="216056"/>
          </a:xfrm>
          <a:prstGeom prst="bentConnector3">
            <a:avLst>
              <a:gd name="adj1" fmla="val 41100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>
            <a:extLst>
              <a:ext uri="{FF2B5EF4-FFF2-40B4-BE49-F238E27FC236}">
                <a16:creationId xmlns:a16="http://schemas.microsoft.com/office/drawing/2014/main" id="{C8824B78-C0E8-084E-B678-36D594339AB4}"/>
              </a:ext>
            </a:extLst>
          </p:cNvPr>
          <p:cNvCxnSpPr>
            <a:cxnSpLocks/>
            <a:stCxn id="96" idx="1"/>
            <a:endCxn id="124" idx="3"/>
          </p:cNvCxnSpPr>
          <p:nvPr/>
        </p:nvCxnSpPr>
        <p:spPr>
          <a:xfrm rot="10800000" flipV="1">
            <a:off x="4102295" y="3223891"/>
            <a:ext cx="1205760" cy="309067"/>
          </a:xfrm>
          <a:prstGeom prst="bentConnector3">
            <a:avLst>
              <a:gd name="adj1" fmla="val 44035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Elbow Connector 127">
            <a:extLst>
              <a:ext uri="{FF2B5EF4-FFF2-40B4-BE49-F238E27FC236}">
                <a16:creationId xmlns:a16="http://schemas.microsoft.com/office/drawing/2014/main" id="{90D11C4A-3291-994A-92AA-C3F27FE47CDC}"/>
              </a:ext>
            </a:extLst>
          </p:cNvPr>
          <p:cNvCxnSpPr>
            <a:cxnSpLocks/>
            <a:stCxn id="96" idx="3"/>
            <a:endCxn id="99" idx="1"/>
          </p:cNvCxnSpPr>
          <p:nvPr/>
        </p:nvCxnSpPr>
        <p:spPr>
          <a:xfrm flipV="1">
            <a:off x="6574821" y="3223891"/>
            <a:ext cx="868046" cy="1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Google Shape;61;p12">
            <a:extLst>
              <a:ext uri="{FF2B5EF4-FFF2-40B4-BE49-F238E27FC236}">
                <a16:creationId xmlns:a16="http://schemas.microsoft.com/office/drawing/2014/main" id="{1E8294C9-7055-8043-BB99-394CFF1AF10E}"/>
              </a:ext>
            </a:extLst>
          </p:cNvPr>
          <p:cNvSpPr txBox="1">
            <a:spLocks/>
          </p:cNvSpPr>
          <p:nvPr/>
        </p:nvSpPr>
        <p:spPr>
          <a:xfrm>
            <a:off x="6457735" y="2747412"/>
            <a:ext cx="985132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MapReduce index</a:t>
            </a:r>
          </a:p>
        </p:txBody>
      </p:sp>
      <p:sp>
        <p:nvSpPr>
          <p:cNvPr id="130" name="Google Shape;61;p12">
            <a:extLst>
              <a:ext uri="{FF2B5EF4-FFF2-40B4-BE49-F238E27FC236}">
                <a16:creationId xmlns:a16="http://schemas.microsoft.com/office/drawing/2014/main" id="{5D20FC41-1AE1-2E4D-AE36-72ACBEA41C3B}"/>
              </a:ext>
            </a:extLst>
          </p:cNvPr>
          <p:cNvSpPr txBox="1">
            <a:spLocks/>
          </p:cNvSpPr>
          <p:nvPr/>
        </p:nvSpPr>
        <p:spPr>
          <a:xfrm>
            <a:off x="4608341" y="2736217"/>
            <a:ext cx="896977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MapReduce job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5818FF4-27A8-8E48-8D30-A88EDFE1BDC3}"/>
              </a:ext>
            </a:extLst>
          </p:cNvPr>
          <p:cNvSpPr/>
          <p:nvPr/>
        </p:nvSpPr>
        <p:spPr>
          <a:xfrm>
            <a:off x="9377707" y="3769636"/>
            <a:ext cx="1578734" cy="86352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6" name="Text Box 115">
            <a:extLst>
              <a:ext uri="{FF2B5EF4-FFF2-40B4-BE49-F238E27FC236}">
                <a16:creationId xmlns:a16="http://schemas.microsoft.com/office/drawing/2014/main" id="{D25FE3A4-0E5B-F04C-A243-D5F137BA6F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4360" y="3940778"/>
            <a:ext cx="1301839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Event Hub</a:t>
            </a:r>
          </a:p>
        </p:txBody>
      </p:sp>
      <p:cxnSp>
        <p:nvCxnSpPr>
          <p:cNvPr id="159" name="Elbow Connector 158">
            <a:extLst>
              <a:ext uri="{FF2B5EF4-FFF2-40B4-BE49-F238E27FC236}">
                <a16:creationId xmlns:a16="http://schemas.microsoft.com/office/drawing/2014/main" id="{050F97A9-14F0-F04F-93D6-A0421B741B3A}"/>
              </a:ext>
            </a:extLst>
          </p:cNvPr>
          <p:cNvCxnSpPr>
            <a:cxnSpLocks/>
            <a:stCxn id="156" idx="1"/>
            <a:endCxn id="107" idx="3"/>
          </p:cNvCxnSpPr>
          <p:nvPr/>
        </p:nvCxnSpPr>
        <p:spPr>
          <a:xfrm rot="10800000" flipV="1">
            <a:off x="4980728" y="4188649"/>
            <a:ext cx="4533633" cy="1568653"/>
          </a:xfrm>
          <a:prstGeom prst="bentConnector3">
            <a:avLst>
              <a:gd name="adj1" fmla="val 36176"/>
            </a:avLst>
          </a:prstGeom>
          <a:ln>
            <a:solidFill>
              <a:srgbClr val="80808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D4D6B444-77F7-6049-A76C-EC8F4B9EE614}"/>
              </a:ext>
            </a:extLst>
          </p:cNvPr>
          <p:cNvGrpSpPr/>
          <p:nvPr/>
        </p:nvGrpSpPr>
        <p:grpSpPr>
          <a:xfrm rot="19530673">
            <a:off x="5029488" y="5053419"/>
            <a:ext cx="301686" cy="265870"/>
            <a:chOff x="720866" y="1199338"/>
            <a:chExt cx="301686" cy="265870"/>
          </a:xfrm>
        </p:grpSpPr>
        <p:sp>
          <p:nvSpPr>
            <p:cNvPr id="167" name="Google Shape;431;p39">
              <a:extLst>
                <a:ext uri="{FF2B5EF4-FFF2-40B4-BE49-F238E27FC236}">
                  <a16:creationId xmlns:a16="http://schemas.microsoft.com/office/drawing/2014/main" id="{605610EC-95ED-FA47-8C22-356E642A6F5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92A1BCB1-3AEE-2645-900C-DC625EED2CCC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1</a:t>
              </a: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982F90DE-8B0A-C048-9B55-481BFBE1560E}"/>
              </a:ext>
            </a:extLst>
          </p:cNvPr>
          <p:cNvGrpSpPr/>
          <p:nvPr/>
        </p:nvGrpSpPr>
        <p:grpSpPr>
          <a:xfrm rot="19530673">
            <a:off x="4416992" y="3112027"/>
            <a:ext cx="301686" cy="265870"/>
            <a:chOff x="720866" y="1199338"/>
            <a:chExt cx="301686" cy="265870"/>
          </a:xfrm>
        </p:grpSpPr>
        <p:sp>
          <p:nvSpPr>
            <p:cNvPr id="170" name="Google Shape;431;p39">
              <a:extLst>
                <a:ext uri="{FF2B5EF4-FFF2-40B4-BE49-F238E27FC236}">
                  <a16:creationId xmlns:a16="http://schemas.microsoft.com/office/drawing/2014/main" id="{F8FADFF7-993A-6648-ABFB-7AB058C0754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32F430DF-58DB-7F49-A6F7-C8CD27B06AA0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3</a:t>
              </a: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6E25734F-0411-8443-AC4A-D1F4EBE65F1B}"/>
              </a:ext>
            </a:extLst>
          </p:cNvPr>
          <p:cNvGrpSpPr/>
          <p:nvPr/>
        </p:nvGrpSpPr>
        <p:grpSpPr>
          <a:xfrm rot="19530673">
            <a:off x="3774335" y="4560594"/>
            <a:ext cx="301686" cy="265870"/>
            <a:chOff x="720866" y="1199338"/>
            <a:chExt cx="301686" cy="265870"/>
          </a:xfrm>
        </p:grpSpPr>
        <p:sp>
          <p:nvSpPr>
            <p:cNvPr id="191" name="Google Shape;431;p39">
              <a:extLst>
                <a:ext uri="{FF2B5EF4-FFF2-40B4-BE49-F238E27FC236}">
                  <a16:creationId xmlns:a16="http://schemas.microsoft.com/office/drawing/2014/main" id="{0CDD4076-FB82-5947-9CB7-B81E559CE51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39913E79-2D3D-0146-BE96-17D569C19A7F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2</a:t>
              </a:r>
            </a:p>
          </p:txBody>
        </p:sp>
      </p:grp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7880FCD-F45B-6647-8D10-BD8E03D027B0}"/>
              </a:ext>
            </a:extLst>
          </p:cNvPr>
          <p:cNvSpPr/>
          <p:nvPr/>
        </p:nvSpPr>
        <p:spPr>
          <a:xfrm>
            <a:off x="7391221" y="2977012"/>
            <a:ext cx="1379741" cy="482582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80A012AE-81FC-0D4A-8640-4BD176401106}"/>
              </a:ext>
            </a:extLst>
          </p:cNvPr>
          <p:cNvSpPr/>
          <p:nvPr/>
        </p:nvSpPr>
        <p:spPr>
          <a:xfrm>
            <a:off x="2767138" y="2747412"/>
            <a:ext cx="1410624" cy="528664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6" name="Google Shape;61;p12">
            <a:extLst>
              <a:ext uri="{FF2B5EF4-FFF2-40B4-BE49-F238E27FC236}">
                <a16:creationId xmlns:a16="http://schemas.microsoft.com/office/drawing/2014/main" id="{7FE623DD-B01C-E145-82A5-004F9BEF740F}"/>
              </a:ext>
            </a:extLst>
          </p:cNvPr>
          <p:cNvSpPr txBox="1">
            <a:spLocks/>
          </p:cNvSpPr>
          <p:nvPr/>
        </p:nvSpPr>
        <p:spPr>
          <a:xfrm>
            <a:off x="2339904" y="4727416"/>
            <a:ext cx="2010893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Data is load into deferens engine</a:t>
            </a:r>
          </a:p>
        </p:txBody>
      </p:sp>
      <p:sp>
        <p:nvSpPr>
          <p:cNvPr id="195" name="Google Shape;61;p12">
            <a:extLst>
              <a:ext uri="{FF2B5EF4-FFF2-40B4-BE49-F238E27FC236}">
                <a16:creationId xmlns:a16="http://schemas.microsoft.com/office/drawing/2014/main" id="{8201BBEE-1ABF-2940-90BA-C2268E53EC67}"/>
              </a:ext>
            </a:extLst>
          </p:cNvPr>
          <p:cNvSpPr txBox="1">
            <a:spLocks/>
          </p:cNvSpPr>
          <p:nvPr/>
        </p:nvSpPr>
        <p:spPr>
          <a:xfrm>
            <a:off x="9213733" y="3726737"/>
            <a:ext cx="839351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ource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17E7B101-BC89-9948-A1F5-7B47986511B3}"/>
              </a:ext>
            </a:extLst>
          </p:cNvPr>
          <p:cNvSpPr/>
          <p:nvPr/>
        </p:nvSpPr>
        <p:spPr>
          <a:xfrm>
            <a:off x="1479069" y="1143814"/>
            <a:ext cx="2010893" cy="882058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9" name="Text Box 115">
            <a:extLst>
              <a:ext uri="{FF2B5EF4-FFF2-40B4-BE49-F238E27FC236}">
                <a16:creationId xmlns:a16="http://schemas.microsoft.com/office/drawing/2014/main" id="{73FEB6F4-1985-2446-B6DD-E5E34A16C3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8079" y="1386874"/>
            <a:ext cx="1722134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0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Data Visualization Tools</a:t>
            </a:r>
          </a:p>
        </p:txBody>
      </p:sp>
      <p:sp>
        <p:nvSpPr>
          <p:cNvPr id="200" name="Google Shape;61;p12">
            <a:extLst>
              <a:ext uri="{FF2B5EF4-FFF2-40B4-BE49-F238E27FC236}">
                <a16:creationId xmlns:a16="http://schemas.microsoft.com/office/drawing/2014/main" id="{302009A1-C454-6847-89A5-CBA0DD6D7B95}"/>
              </a:ext>
            </a:extLst>
          </p:cNvPr>
          <p:cNvSpPr txBox="1">
            <a:spLocks/>
          </p:cNvSpPr>
          <p:nvPr/>
        </p:nvSpPr>
        <p:spPr>
          <a:xfrm>
            <a:off x="1459275" y="1121514"/>
            <a:ext cx="1158362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erving layer</a:t>
            </a:r>
          </a:p>
        </p:txBody>
      </p:sp>
      <p:cxnSp>
        <p:nvCxnSpPr>
          <p:cNvPr id="211" name="Elbow Connector 210">
            <a:extLst>
              <a:ext uri="{FF2B5EF4-FFF2-40B4-BE49-F238E27FC236}">
                <a16:creationId xmlns:a16="http://schemas.microsoft.com/office/drawing/2014/main" id="{946E7CE7-EE6D-7648-92F0-98C706456EE9}"/>
              </a:ext>
            </a:extLst>
          </p:cNvPr>
          <p:cNvCxnSpPr>
            <a:cxnSpLocks/>
            <a:stCxn id="124" idx="1"/>
            <a:endCxn id="199" idx="2"/>
          </p:cNvCxnSpPr>
          <p:nvPr/>
        </p:nvCxnSpPr>
        <p:spPr>
          <a:xfrm rot="10800000">
            <a:off x="2479147" y="1882619"/>
            <a:ext cx="356383" cy="1650341"/>
          </a:xfrm>
          <a:prstGeom prst="bentConnector2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Elbow Connector 214">
            <a:extLst>
              <a:ext uri="{FF2B5EF4-FFF2-40B4-BE49-F238E27FC236}">
                <a16:creationId xmlns:a16="http://schemas.microsoft.com/office/drawing/2014/main" id="{5E46A883-8DE3-F449-99F8-3AD0715C5C81}"/>
              </a:ext>
            </a:extLst>
          </p:cNvPr>
          <p:cNvCxnSpPr>
            <a:cxnSpLocks/>
            <a:stCxn id="194" idx="1"/>
            <a:endCxn id="199" idx="2"/>
          </p:cNvCxnSpPr>
          <p:nvPr/>
        </p:nvCxnSpPr>
        <p:spPr>
          <a:xfrm rot="10800000">
            <a:off x="2479146" y="1882618"/>
            <a:ext cx="287992" cy="1129126"/>
          </a:xfrm>
          <a:prstGeom prst="bentConnector2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2F5EB25-D492-E949-BAD9-2E84BA4C0BF4}"/>
              </a:ext>
            </a:extLst>
          </p:cNvPr>
          <p:cNvGrpSpPr/>
          <p:nvPr/>
        </p:nvGrpSpPr>
        <p:grpSpPr>
          <a:xfrm>
            <a:off x="10089781" y="324263"/>
            <a:ext cx="1569747" cy="398276"/>
            <a:chOff x="10089781" y="324263"/>
            <a:chExt cx="1569747" cy="398276"/>
          </a:xfrm>
        </p:grpSpPr>
        <p:sp>
          <p:nvSpPr>
            <p:cNvPr id="7" name="Text Box 115">
              <a:extLst>
                <a:ext uri="{FF2B5EF4-FFF2-40B4-BE49-F238E27FC236}">
                  <a16:creationId xmlns:a16="http://schemas.microsoft.com/office/drawing/2014/main" id="{E0222F90-406D-184C-A846-B36F0C79D7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6708" y="395611"/>
              <a:ext cx="501650" cy="88900"/>
            </a:xfrm>
            <a:prstGeom prst="rect">
              <a:avLst/>
            </a:prstGeom>
            <a:solidFill>
              <a:srgbClr val="C5277F">
                <a:alpha val="50000"/>
              </a:srgbClr>
            </a:solidFill>
            <a:ln w="12700">
              <a:solidFill>
                <a:srgbClr val="7C1A4D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" name="Text Box 118">
              <a:extLst>
                <a:ext uri="{FF2B5EF4-FFF2-40B4-BE49-F238E27FC236}">
                  <a16:creationId xmlns:a16="http://schemas.microsoft.com/office/drawing/2014/main" id="{B27AC165-25C0-3844-BF5B-7DEACEDE86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737481" y="324263"/>
              <a:ext cx="922047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None/>
                <a:defRPr sz="900" b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pt-BR" dirty="0" err="1"/>
                <a:t>Second</a:t>
              </a:r>
              <a:r>
                <a:rPr lang="es-ES" altLang="pt-BR" dirty="0"/>
                <a:t> </a:t>
              </a:r>
              <a:r>
                <a:rPr lang="es-ES" altLang="pt-BR" dirty="0" err="1"/>
                <a:t>stage</a:t>
              </a:r>
              <a:r>
                <a:rPr lang="es-ES" altLang="pt-BR" dirty="0"/>
                <a:t> </a:t>
              </a:r>
            </a:p>
          </p:txBody>
        </p:sp>
        <p:sp>
          <p:nvSpPr>
            <p:cNvPr id="10" name="Rectangle 119">
              <a:extLst>
                <a:ext uri="{FF2B5EF4-FFF2-40B4-BE49-F238E27FC236}">
                  <a16:creationId xmlns:a16="http://schemas.microsoft.com/office/drawing/2014/main" id="{7F20A950-BA5D-E742-9E7D-45DB7EED0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9781" y="324263"/>
              <a:ext cx="1569747" cy="39827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accent2"/>
                </a:buClr>
                <a:buFont typeface="Wingdings" pitchFamily="2" charset="2"/>
                <a:buNone/>
              </a:pPr>
              <a:endParaRPr lang="pt-BR" altLang="pt-BR" b="0">
                <a:solidFill>
                  <a:schemeClr val="tx1"/>
                </a:solidFill>
              </a:endParaRPr>
            </a:p>
          </p:txBody>
        </p:sp>
        <p:sp>
          <p:nvSpPr>
            <p:cNvPr id="61" name="Text Box 115">
              <a:extLst>
                <a:ext uri="{FF2B5EF4-FFF2-40B4-BE49-F238E27FC236}">
                  <a16:creationId xmlns:a16="http://schemas.microsoft.com/office/drawing/2014/main" id="{E74167D8-B6BA-2C4E-9822-B5DB704AE0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9435" y="562672"/>
              <a:ext cx="509197" cy="88901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100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endParaRPr>
            </a:p>
          </p:txBody>
        </p:sp>
        <p:sp>
          <p:nvSpPr>
            <p:cNvPr id="62" name="Text Box 118">
              <a:extLst>
                <a:ext uri="{FF2B5EF4-FFF2-40B4-BE49-F238E27FC236}">
                  <a16:creationId xmlns:a16="http://schemas.microsoft.com/office/drawing/2014/main" id="{CEAE94F0-D301-3341-9ECF-6D65B33680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742330" y="491706"/>
              <a:ext cx="755335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accent2"/>
                </a:buClr>
                <a:buNone/>
              </a:pPr>
              <a:r>
                <a:rPr lang="en-US" sz="900" b="0" dirty="0">
                  <a:solidFill>
                    <a:schemeClr val="tx1"/>
                  </a:solidFill>
                  <a:cs typeface="Arial" panose="020B0604020202020204" pitchFamily="34" charset="0"/>
                </a:rPr>
                <a:t>First phase</a:t>
              </a:r>
              <a:endParaRPr lang="es-ES" altLang="pt-BR" sz="900" b="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6" name="Google Shape;61;p12">
            <a:extLst>
              <a:ext uri="{FF2B5EF4-FFF2-40B4-BE49-F238E27FC236}">
                <a16:creationId xmlns:a16="http://schemas.microsoft.com/office/drawing/2014/main" id="{D859ED0E-F5DE-A342-8705-E7AA308EECBF}"/>
              </a:ext>
            </a:extLst>
          </p:cNvPr>
          <p:cNvSpPr txBox="1">
            <a:spLocks/>
          </p:cNvSpPr>
          <p:nvPr/>
        </p:nvSpPr>
        <p:spPr>
          <a:xfrm>
            <a:off x="2417519" y="3912008"/>
            <a:ext cx="1748282" cy="65607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After the data is loaded into the HBase tables, they are propagated to two other service engines. The first service engine is Hive, the second is Impala and the second </a:t>
            </a:r>
            <a:r>
              <a:rPr lang="en-US" sz="800" dirty="0" err="1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olr</a:t>
            </a: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 in a second stage.</a:t>
            </a:r>
          </a:p>
        </p:txBody>
      </p:sp>
      <p:sp>
        <p:nvSpPr>
          <p:cNvPr id="67" name="Google Shape;61;p12">
            <a:extLst>
              <a:ext uri="{FF2B5EF4-FFF2-40B4-BE49-F238E27FC236}">
                <a16:creationId xmlns:a16="http://schemas.microsoft.com/office/drawing/2014/main" id="{4FA54DEF-E59C-D34B-B07C-AFB16249E2EE}"/>
              </a:ext>
            </a:extLst>
          </p:cNvPr>
          <p:cNvSpPr txBox="1">
            <a:spLocks/>
          </p:cNvSpPr>
          <p:nvPr/>
        </p:nvSpPr>
        <p:spPr>
          <a:xfrm>
            <a:off x="6758393" y="1254858"/>
            <a:ext cx="2109883" cy="8820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The HBase Indexer provides the ability to stream events from HBase to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Solr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for near real time searching, however,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PoC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is 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</a:rPr>
              <a:t>required.</a:t>
            </a:r>
            <a:endParaRPr lang="en-US" sz="900" dirty="0">
              <a:solidFill>
                <a:srgbClr val="C5277F">
                  <a:alpha val="30000"/>
                </a:srgbClr>
              </a:solidFill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  <a:reflection endPos="0" dist="50800" dir="5400000" sy="-100000" algn="bl" rotWithShape="0"/>
              </a:effectLst>
              <a:latin typeface="Comic Sans MS" panose="030F0902030302020204" pitchFamily="66" charset="0"/>
              <a:ea typeface="Nanum Pen Script" panose="03040600000000000000" pitchFamily="66" charset="-127"/>
              <a:cs typeface="Arial" panose="020B0604020202020204" pitchFamily="34" charset="0"/>
            </a:endParaRPr>
          </a:p>
        </p:txBody>
      </p:sp>
      <p:sp>
        <p:nvSpPr>
          <p:cNvPr id="69" name="Google Shape;61;p12">
            <a:extLst>
              <a:ext uri="{FF2B5EF4-FFF2-40B4-BE49-F238E27FC236}">
                <a16:creationId xmlns:a16="http://schemas.microsoft.com/office/drawing/2014/main" id="{90C1476B-5CCA-4C4C-804D-EC8CDDDE5903}"/>
              </a:ext>
            </a:extLst>
          </p:cNvPr>
          <p:cNvSpPr txBox="1">
            <a:spLocks/>
          </p:cNvSpPr>
          <p:nvPr/>
        </p:nvSpPr>
        <p:spPr>
          <a:xfrm>
            <a:off x="3647124" y="1264622"/>
            <a:ext cx="2672929" cy="8820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You can use Impala to query HBase tables. This capability allows convenient access to a storage system that is tuned for different kinds of workloads than the default with. Impala, however,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PoC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is 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</a:rPr>
              <a:t>required.</a:t>
            </a:r>
            <a:endParaRPr lang="en-US" sz="900" dirty="0">
              <a:solidFill>
                <a:srgbClr val="C5277F">
                  <a:alpha val="30000"/>
                </a:srgbClr>
              </a:solidFill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  <a:reflection endPos="0" dist="50800" dir="5400000" sy="-100000" algn="bl" rotWithShape="0"/>
              </a:effectLst>
              <a:latin typeface="Comic Sans MS" panose="030F0902030302020204" pitchFamily="66" charset="0"/>
              <a:ea typeface="Nanum Pen Script" panose="03040600000000000000" pitchFamily="66" charset="-127"/>
              <a:cs typeface="Arial" panose="020B0604020202020204" pitchFamily="34" charset="0"/>
            </a:endParaRPr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D6D4B221-E4A8-FD45-9BCC-ECF7DC12A9E3}"/>
              </a:ext>
            </a:extLst>
          </p:cNvPr>
          <p:cNvCxnSpPr>
            <a:cxnSpLocks/>
            <a:stCxn id="69" idx="2"/>
            <a:endCxn id="194" idx="0"/>
          </p:cNvCxnSpPr>
          <p:nvPr/>
        </p:nvCxnSpPr>
        <p:spPr>
          <a:xfrm rot="5400000">
            <a:off x="3927654" y="1691477"/>
            <a:ext cx="600732" cy="1511139"/>
          </a:xfrm>
          <a:prstGeom prst="bentConnector3">
            <a:avLst>
              <a:gd name="adj1" fmla="val 65392"/>
            </a:avLst>
          </a:prstGeom>
          <a:ln>
            <a:solidFill>
              <a:srgbClr val="C5277F">
                <a:alpha val="42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83">
            <a:extLst>
              <a:ext uri="{FF2B5EF4-FFF2-40B4-BE49-F238E27FC236}">
                <a16:creationId xmlns:a16="http://schemas.microsoft.com/office/drawing/2014/main" id="{CBEEE766-8440-7045-84AF-F96D9706840E}"/>
              </a:ext>
            </a:extLst>
          </p:cNvPr>
          <p:cNvCxnSpPr>
            <a:cxnSpLocks/>
            <a:stCxn id="67" idx="2"/>
            <a:endCxn id="193" idx="0"/>
          </p:cNvCxnSpPr>
          <p:nvPr/>
        </p:nvCxnSpPr>
        <p:spPr>
          <a:xfrm rot="16200000" flipH="1">
            <a:off x="7527165" y="2423085"/>
            <a:ext cx="840096" cy="267757"/>
          </a:xfrm>
          <a:prstGeom prst="bentConnector3">
            <a:avLst>
              <a:gd name="adj1" fmla="val 50000"/>
            </a:avLst>
          </a:prstGeom>
          <a:ln>
            <a:solidFill>
              <a:srgbClr val="C5277F">
                <a:alpha val="42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Google Shape;61;p12">
            <a:extLst>
              <a:ext uri="{FF2B5EF4-FFF2-40B4-BE49-F238E27FC236}">
                <a16:creationId xmlns:a16="http://schemas.microsoft.com/office/drawing/2014/main" id="{E78FC96D-6A73-2843-8AAF-1249D23862B1}"/>
              </a:ext>
            </a:extLst>
          </p:cNvPr>
          <p:cNvSpPr txBox="1">
            <a:spLocks/>
          </p:cNvSpPr>
          <p:nvPr/>
        </p:nvSpPr>
        <p:spPr>
          <a:xfrm>
            <a:off x="5476176" y="5110556"/>
            <a:ext cx="1704839" cy="635137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A series of transformations are performed to join the relevant data sets. Most of these unions are made based on a primary key in the data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80FB4CD-E7D4-4A47-86A1-C19938573A5C}"/>
              </a:ext>
            </a:extLst>
          </p:cNvPr>
          <p:cNvSpPr/>
          <p:nvPr/>
        </p:nvSpPr>
        <p:spPr>
          <a:xfrm>
            <a:off x="3202877" y="5343095"/>
            <a:ext cx="1916014" cy="805197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Text Box 115">
            <a:extLst>
              <a:ext uri="{FF2B5EF4-FFF2-40B4-BE49-F238E27FC236}">
                <a16:creationId xmlns:a16="http://schemas.microsoft.com/office/drawing/2014/main" id="{359DB353-7A9E-EA48-8F86-C6D81ED4C9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6121" y="5514237"/>
            <a:ext cx="1556345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Near Real Time Event </a:t>
            </a:r>
          </a:p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Processing Engine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2F70E09C-A5F7-1949-911E-E02A17F61C1A}"/>
              </a:ext>
            </a:extLst>
          </p:cNvPr>
          <p:cNvSpPr/>
          <p:nvPr/>
        </p:nvSpPr>
        <p:spPr>
          <a:xfrm>
            <a:off x="3286798" y="5414669"/>
            <a:ext cx="1693929" cy="685267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2" name="Elbow Connector 91">
            <a:extLst>
              <a:ext uri="{FF2B5EF4-FFF2-40B4-BE49-F238E27FC236}">
                <a16:creationId xmlns:a16="http://schemas.microsoft.com/office/drawing/2014/main" id="{84CEAAD5-8A8A-A447-BDFA-A19B0479D3ED}"/>
              </a:ext>
            </a:extLst>
          </p:cNvPr>
          <p:cNvCxnSpPr>
            <a:cxnSpLocks/>
            <a:stCxn id="96" idx="2"/>
          </p:cNvCxnSpPr>
          <p:nvPr/>
        </p:nvCxnSpPr>
        <p:spPr>
          <a:xfrm rot="5400000">
            <a:off x="4052902" y="3557926"/>
            <a:ext cx="2028792" cy="1748281"/>
          </a:xfrm>
          <a:prstGeom prst="bentConnector3">
            <a:avLst>
              <a:gd name="adj1" fmla="val 30250"/>
            </a:avLst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0A5AA5DE-8011-F843-9B89-E90172F7A599}"/>
              </a:ext>
            </a:extLst>
          </p:cNvPr>
          <p:cNvGrpSpPr/>
          <p:nvPr/>
        </p:nvGrpSpPr>
        <p:grpSpPr>
          <a:xfrm rot="19530673">
            <a:off x="1889534" y="2138372"/>
            <a:ext cx="301686" cy="265870"/>
            <a:chOff x="720866" y="1199338"/>
            <a:chExt cx="301686" cy="265870"/>
          </a:xfrm>
        </p:grpSpPr>
        <p:sp>
          <p:nvSpPr>
            <p:cNvPr id="79" name="Google Shape;431;p39">
              <a:extLst>
                <a:ext uri="{FF2B5EF4-FFF2-40B4-BE49-F238E27FC236}">
                  <a16:creationId xmlns:a16="http://schemas.microsoft.com/office/drawing/2014/main" id="{BE5584BD-8A56-0F4E-9249-EC75DF50571C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EFDE4224-708A-824D-98E3-596B6C333F02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5192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oup 5">
            <a:extLst>
              <a:ext uri="{FF2B5EF4-FFF2-40B4-BE49-F238E27FC236}">
                <a16:creationId xmlns:a16="http://schemas.microsoft.com/office/drawing/2014/main" id="{16AA3C4F-7ADF-A541-9CA1-7E264F7DAD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5003724"/>
              </p:ext>
            </p:extLst>
          </p:nvPr>
        </p:nvGraphicFramePr>
        <p:xfrm>
          <a:off x="1938528" y="581550"/>
          <a:ext cx="9729217" cy="3926442"/>
        </p:xfrm>
        <a:graphic>
          <a:graphicData uri="http://schemas.openxmlformats.org/drawingml/2006/table">
            <a:tbl>
              <a:tblPr/>
              <a:tblGrid>
                <a:gridCol w="10361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2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460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744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21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Times" pitchFamily="18" charset="0"/>
                        <a:buNone/>
                        <a:tabLst>
                          <a:tab pos="450850" algn="l"/>
                          <a:tab pos="900113" algn="l"/>
                          <a:tab pos="1349375" algn="l"/>
                          <a:tab pos="2251075" algn="l"/>
                        </a:tabLst>
                      </a:pPr>
                      <a:r>
                        <a:rPr kumimoji="0" lang="es-MX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Versión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AA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Times" pitchFamily="18" charset="0"/>
                        <a:buNone/>
                        <a:tabLst>
                          <a:tab pos="450850" algn="l"/>
                          <a:tab pos="900113" algn="l"/>
                          <a:tab pos="1349375" algn="l"/>
                          <a:tab pos="2251075" algn="l"/>
                        </a:tabLst>
                      </a:pPr>
                      <a:r>
                        <a:rPr kumimoji="0" lang="es-MX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echa</a:t>
                      </a:r>
                      <a:endParaRPr kumimoji="0" lang="es-MX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AA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Times" pitchFamily="18" charset="0"/>
                        <a:buNone/>
                        <a:tabLst>
                          <a:tab pos="450850" algn="l"/>
                          <a:tab pos="900113" algn="l"/>
                          <a:tab pos="1349375" algn="l"/>
                          <a:tab pos="2251075" algn="l"/>
                        </a:tabLst>
                      </a:pPr>
                      <a:r>
                        <a:rPr kumimoji="0" lang="es-MX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 del Cambio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AA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Times" pitchFamily="18" charset="0"/>
                        <a:buNone/>
                        <a:tabLst>
                          <a:tab pos="450850" algn="l"/>
                          <a:tab pos="900113" algn="l"/>
                          <a:tab pos="1349375" algn="l"/>
                          <a:tab pos="2251075" algn="l"/>
                        </a:tabLst>
                      </a:pPr>
                      <a:r>
                        <a:rPr kumimoji="0" lang="es-MX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utor/Departamento</a:t>
                      </a:r>
                      <a:endParaRPr kumimoji="0" lang="es-MX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A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70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charset="0"/>
                        </a:rPr>
                        <a:t>0.1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charset="0"/>
                        </a:rPr>
                        <a:t>05/02/2020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charset="0"/>
                          <a:ea typeface="SimSun" pitchFamily="2" charset="-122"/>
                        </a:rPr>
                        <a:t>Creación del documento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pitchFamily="34" charset="0"/>
                        </a:rPr>
                        <a:t>[Big Data Architecture]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6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r>
                        <a:rPr kumimoji="0" lang="es-MX" sz="12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0.2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charset="0"/>
                        </a:rPr>
                        <a:t>10/02/2020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charset="0"/>
                          <a:ea typeface="SimSun" pitchFamily="2" charset="-122"/>
                        </a:rPr>
                        <a:t>Document Creation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pitchFamily="34" charset="0"/>
                        </a:rPr>
                        <a:t>[Big Data Architecture]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SimSun" pitchFamily="2" charset="-122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971020"/>
                  </a:ext>
                </a:extLst>
              </a:tr>
              <a:tr h="726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SimSun" pitchFamily="2" charset="-122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4266419"/>
                  </a:ext>
                </a:extLst>
              </a:tr>
              <a:tr h="726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SimSun" pitchFamily="2" charset="-122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43624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16702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">
            <a:extLst>
              <a:ext uri="{FF2B5EF4-FFF2-40B4-BE49-F238E27FC236}">
                <a16:creationId xmlns:a16="http://schemas.microsoft.com/office/drawing/2014/main" id="{A27FD23C-A522-0E4F-B70C-CC83BC4542BA}"/>
              </a:ext>
            </a:extLst>
          </p:cNvPr>
          <p:cNvSpPr txBox="1"/>
          <p:nvPr/>
        </p:nvSpPr>
        <p:spPr>
          <a:xfrm>
            <a:off x="404808" y="237462"/>
            <a:ext cx="7585857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Table of Contents</a:t>
            </a:r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08854565-0D5C-A447-971C-91CF37656792}"/>
              </a:ext>
            </a:extLst>
          </p:cNvPr>
          <p:cNvSpPr txBox="1">
            <a:spLocks noChangeArrowheads="1"/>
          </p:cNvSpPr>
          <p:nvPr/>
        </p:nvSpPr>
        <p:spPr>
          <a:xfrm>
            <a:off x="2851150" y="1352550"/>
            <a:ext cx="7854950" cy="3722370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spcBef>
                <a:spcPts val="354"/>
              </a:spcBef>
              <a:buFontTx/>
              <a:buNone/>
              <a:defRPr sz="1477" b="1" kern="1200" baseline="0">
                <a:solidFill>
                  <a:srgbClr val="002D72"/>
                </a:solidFill>
                <a:latin typeface="Arial"/>
                <a:ea typeface="+mn-ea"/>
                <a:cs typeface="Arial"/>
                <a:sym typeface="Arial"/>
              </a:defRPr>
            </a:lvl1pPr>
            <a:lvl2pPr marL="422041" indent="-211021" algn="l" defTabSz="844083" rtl="0" eaLnBrk="1" latinLnBrk="0" hangingPunct="1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defRPr sz="1477" kern="1200" baseline="0">
                <a:solidFill>
                  <a:srgbClr val="002D72"/>
                </a:solidFill>
                <a:latin typeface="Arial"/>
                <a:ea typeface="+mn-ea"/>
                <a:cs typeface="Arial"/>
                <a:sym typeface="Arial"/>
              </a:defRPr>
            </a:lvl2pPr>
            <a:lvl3pPr marL="844083" indent="-211021" algn="l" defTabSz="844083" rtl="0" eaLnBrk="1" latinLnBrk="0" hangingPunct="1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–"/>
              <a:defRPr sz="1477" kern="1200" baseline="0">
                <a:solidFill>
                  <a:srgbClr val="002D72"/>
                </a:solidFill>
                <a:latin typeface="Arial"/>
                <a:ea typeface="+mn-ea"/>
                <a:cs typeface="Arial"/>
                <a:sym typeface="Arial"/>
              </a:defRPr>
            </a:lvl3pPr>
            <a:lvl4pPr marL="1270521" indent="-215416" algn="l" defTabSz="844083" rtl="0" eaLnBrk="1" latinLnBrk="0" hangingPunct="1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–"/>
              <a:defRPr sz="1477" kern="1200" baseline="0">
                <a:solidFill>
                  <a:srgbClr val="002D72"/>
                </a:solidFill>
                <a:latin typeface="Arial"/>
                <a:ea typeface="+mn-ea"/>
                <a:cs typeface="Arial"/>
                <a:sym typeface="Arial"/>
              </a:defRPr>
            </a:lvl4pPr>
            <a:lvl5pPr marL="1900652" indent="-212487" algn="l" defTabSz="844083" rtl="0" eaLnBrk="1" latinLnBrk="0" hangingPunct="1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–"/>
              <a:defRPr sz="1477" kern="1200" baseline="0">
                <a:solidFill>
                  <a:srgbClr val="002D72"/>
                </a:solidFill>
                <a:latin typeface="Arial"/>
                <a:ea typeface="+mn-ea"/>
                <a:cs typeface="Arial"/>
                <a:sym typeface="Arial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87CBD8"/>
              </a:buClr>
              <a:defRPr/>
            </a:pPr>
            <a:r>
              <a:rPr lang="es-ES" sz="1800" dirty="0">
                <a:solidFill>
                  <a:srgbClr val="0067B7"/>
                </a:solidFill>
              </a:rPr>
              <a:t> </a:t>
            </a:r>
            <a:endParaRPr lang="es-ES" sz="2800" dirty="0">
              <a:solidFill>
                <a:srgbClr val="0067B7"/>
              </a:solidFill>
            </a:endParaRPr>
          </a:p>
          <a:p>
            <a:pPr lvl="1">
              <a:buClr>
                <a:srgbClr val="87CBD8"/>
              </a:buClr>
              <a:buFont typeface="Wingdings" pitchFamily="2" charset="2"/>
              <a:buChar char="§"/>
              <a:defRPr/>
            </a:pPr>
            <a:r>
              <a:rPr lang="en-US" sz="2400" dirty="0">
                <a:solidFill>
                  <a:srgbClr val="0067B7"/>
                </a:solidFill>
              </a:rPr>
              <a:t>Features and terminology</a:t>
            </a:r>
          </a:p>
          <a:p>
            <a:pPr lvl="1">
              <a:buClr>
                <a:srgbClr val="87CBD8"/>
              </a:buClr>
              <a:buFont typeface="Wingdings" pitchFamily="2" charset="2"/>
              <a:buChar char="§"/>
              <a:defRPr/>
            </a:pPr>
            <a:r>
              <a:rPr lang="en-US" sz="2400" dirty="0">
                <a:solidFill>
                  <a:srgbClr val="0067B7"/>
                </a:solidFill>
              </a:rPr>
              <a:t>Needs and Solution Proposal</a:t>
            </a:r>
          </a:p>
          <a:p>
            <a:pPr lvl="1">
              <a:buClr>
                <a:srgbClr val="87CBD8"/>
              </a:buClr>
              <a:buFont typeface="Wingdings" pitchFamily="2" charset="2"/>
              <a:buChar char="§"/>
              <a:defRPr/>
            </a:pPr>
            <a:r>
              <a:rPr lang="en-US" sz="2400" dirty="0">
                <a:solidFill>
                  <a:srgbClr val="0067B7"/>
                </a:solidFill>
              </a:rPr>
              <a:t>Graphic Representation of the Solution</a:t>
            </a:r>
          </a:p>
          <a:p>
            <a:pPr lvl="1">
              <a:buClr>
                <a:srgbClr val="87CBD8"/>
              </a:buClr>
              <a:buFont typeface="Wingdings" pitchFamily="2" charset="2"/>
              <a:buChar char="§"/>
              <a:defRPr/>
            </a:pPr>
            <a:r>
              <a:rPr lang="en-US" sz="2400" dirty="0">
                <a:solidFill>
                  <a:srgbClr val="0067B7"/>
                </a:solidFill>
              </a:rPr>
              <a:t>Infrastructure and Connectivity</a:t>
            </a:r>
          </a:p>
          <a:p>
            <a:pPr lvl="1">
              <a:buClr>
                <a:srgbClr val="87CBD8"/>
              </a:buClr>
              <a:buFont typeface="Wingdings" pitchFamily="2" charset="2"/>
              <a:buChar char="§"/>
              <a:defRPr/>
            </a:pPr>
            <a:r>
              <a:rPr lang="en-US" sz="2400" dirty="0">
                <a:solidFill>
                  <a:srgbClr val="0067B7"/>
                </a:solidFill>
              </a:rPr>
              <a:t>General services</a:t>
            </a:r>
          </a:p>
          <a:p>
            <a:pPr lvl="1">
              <a:buClr>
                <a:srgbClr val="87CBD8"/>
              </a:buClr>
              <a:buFont typeface="Wingdings" pitchFamily="2" charset="2"/>
              <a:buChar char="§"/>
              <a:defRPr/>
            </a:pPr>
            <a:r>
              <a:rPr lang="en-US" sz="2400" dirty="0">
                <a:solidFill>
                  <a:srgbClr val="0067B7"/>
                </a:solidFill>
              </a:rPr>
              <a:t>Risks and Dependencies</a:t>
            </a:r>
          </a:p>
          <a:p>
            <a:pPr lvl="1">
              <a:buClr>
                <a:srgbClr val="87CBD8"/>
              </a:buClr>
              <a:buFont typeface="Wingdings" pitchFamily="2" charset="2"/>
              <a:buChar char="§"/>
              <a:defRPr/>
            </a:pPr>
            <a:r>
              <a:rPr lang="en-US" sz="2400" dirty="0">
                <a:solidFill>
                  <a:srgbClr val="0067B7"/>
                </a:solidFill>
              </a:rPr>
              <a:t>Standards, Patterns and Decisions of Architecture</a:t>
            </a:r>
          </a:p>
          <a:p>
            <a:pPr lvl="1">
              <a:buClr>
                <a:srgbClr val="87CBD8"/>
              </a:buClr>
              <a:buFont typeface="Wingdings" pitchFamily="2" charset="2"/>
              <a:buChar char="§"/>
              <a:defRPr/>
            </a:pPr>
            <a:r>
              <a:rPr lang="en-US" sz="2400" dirty="0">
                <a:solidFill>
                  <a:srgbClr val="0067B7"/>
                </a:solidFill>
              </a:rPr>
              <a:t>References and Annexes</a:t>
            </a:r>
          </a:p>
        </p:txBody>
      </p:sp>
    </p:spTree>
    <p:extLst>
      <p:ext uri="{BB962C8B-B14F-4D97-AF65-F5344CB8AC3E}">
        <p14:creationId xmlns:p14="http://schemas.microsoft.com/office/powerpoint/2010/main" val="22523568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4581515" y="3028895"/>
            <a:ext cx="3785246" cy="400105"/>
          </a:xfrm>
          <a:prstGeom prst="rect">
            <a:avLst/>
          </a:prstGeom>
          <a:ln w="12700">
            <a:miter lim="400000"/>
          </a:ln>
        </p:spPr>
        <p:txBody>
          <a:bodyPr wrap="square" lIns="45718" tIns="45718" rIns="45718" bIns="45718">
            <a:spAutoFit/>
          </a:bodyPr>
          <a:lstStyle/>
          <a:p>
            <a:pPr defTabSz="914400"/>
            <a:r>
              <a:rPr lang="es-MX" sz="2000" b="1" dirty="0">
                <a:solidFill>
                  <a:srgbClr val="016AA2"/>
                </a:solidFill>
                <a:ea typeface="Arial"/>
                <a:cs typeface="Arial"/>
              </a:rPr>
              <a:t>Features and terminology</a:t>
            </a:r>
          </a:p>
        </p:txBody>
      </p:sp>
    </p:spTree>
    <p:extLst>
      <p:ext uri="{BB962C8B-B14F-4D97-AF65-F5344CB8AC3E}">
        <p14:creationId xmlns:p14="http://schemas.microsoft.com/office/powerpoint/2010/main" val="19442388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3"/>
          <p:cNvSpPr txBox="1"/>
          <p:nvPr/>
        </p:nvSpPr>
        <p:spPr>
          <a:xfrm>
            <a:off x="420831" y="637567"/>
            <a:ext cx="3849511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000">
                <a:solidFill>
                  <a:srgbClr val="104D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/>
            </a:pPr>
            <a:r>
              <a:rPr lang="en-US" sz="1800" b="1" dirty="0">
                <a:solidFill>
                  <a:srgbClr val="87CBD8"/>
                </a:solidFill>
              </a:rPr>
              <a:t>Architecting HBase Applications</a:t>
            </a: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51E0C841-ED3D-2F4C-9A84-F2C04DC16BC0}"/>
              </a:ext>
            </a:extLst>
          </p:cNvPr>
          <p:cNvSpPr txBox="1"/>
          <p:nvPr/>
        </p:nvSpPr>
        <p:spPr>
          <a:xfrm>
            <a:off x="404809" y="237462"/>
            <a:ext cx="5816248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Needs and Solution Proposal (I)</a:t>
            </a:r>
          </a:p>
        </p:txBody>
      </p:sp>
      <p:sp>
        <p:nvSpPr>
          <p:cNvPr id="72" name="Rectangle 5">
            <a:extLst>
              <a:ext uri="{FF2B5EF4-FFF2-40B4-BE49-F238E27FC236}">
                <a16:creationId xmlns:a16="http://schemas.microsoft.com/office/drawing/2014/main" id="{CB5A5A91-F407-7C44-8074-FA033D3B1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550" y="1022350"/>
            <a:ext cx="11248898" cy="4052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rgbClr val="FF0000"/>
              </a:buClr>
              <a:buChar char="w"/>
              <a:defRPr sz="2400" b="1">
                <a:solidFill>
                  <a:srgbClr val="FF0000"/>
                </a:solidFill>
                <a:latin typeface="Arial" charset="0"/>
              </a:defRPr>
            </a:lvl1pPr>
            <a:lvl2pPr marL="441325" indent="-261938" eaLnBrk="0" hangingPunct="0">
              <a:buClr>
                <a:schemeClr val="bg2"/>
              </a:buClr>
              <a:buChar char="§"/>
              <a:defRPr sz="2600">
                <a:solidFill>
                  <a:srgbClr val="808080"/>
                </a:solidFill>
                <a:latin typeface="Arial" charset="0"/>
              </a:defRPr>
            </a:lvl2pPr>
            <a:lvl3pPr marL="1050925" indent="-17145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20000"/>
              </a:spcBef>
              <a:buClr>
                <a:schemeClr val="bg1"/>
              </a:buClr>
              <a:buSzPct val="25000"/>
              <a:buFont typeface="Times"/>
              <a:buChar char="•"/>
              <a:defRPr/>
            </a:pPr>
            <a:endParaRPr lang="es-ES_tradnl" altLang="es-MX" dirty="0"/>
          </a:p>
          <a:p>
            <a:pPr marL="179387" lvl="1" indent="0" algn="just" eaLnBrk="1" hangingPunct="1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s-ES_tradnl" altLang="es-MX" sz="1400" b="1" dirty="0" err="1">
                <a:solidFill>
                  <a:srgbClr val="C5277F"/>
                </a:solidFill>
              </a:rPr>
              <a:t>Objective</a:t>
            </a:r>
            <a:endParaRPr lang="es-ES_tradnl" altLang="es-MX" sz="1400" b="1" dirty="0">
              <a:solidFill>
                <a:srgbClr val="C5277F"/>
              </a:solidFill>
            </a:endParaRPr>
          </a:p>
          <a:p>
            <a:pPr marL="179387" lvl="1" indent="0" algn="just" eaLnBrk="1" hangingPunct="1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None/>
              <a:defRPr/>
            </a:pPr>
            <a:endParaRPr lang="es-MX" altLang="es-MX" sz="1400" b="1" dirty="0">
              <a:solidFill>
                <a:srgbClr val="FF0000"/>
              </a:solidFill>
            </a:endParaRPr>
          </a:p>
          <a:p>
            <a:pPr marL="179387" lvl="1" indent="0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None/>
              <a:defRPr/>
            </a:pP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Address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the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requirements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of </a:t>
            </a: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the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Alert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Notifications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Project.</a:t>
            </a:r>
          </a:p>
          <a:p>
            <a:pPr marL="179387" lvl="1" indent="0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None/>
              <a:defRPr/>
            </a:pPr>
            <a:endParaRPr lang="es-ES" sz="1400" dirty="0">
              <a:solidFill>
                <a:schemeClr val="bg1">
                  <a:lumMod val="50000"/>
                </a:schemeClr>
              </a:solidFill>
            </a:endParaRPr>
          </a:p>
          <a:p>
            <a:pPr marL="179387" lvl="1" indent="0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None/>
              <a:defRPr/>
            </a:pP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The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following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non-</a:t>
            </a: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functional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requirements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 are </a:t>
            </a:r>
            <a:r>
              <a:rPr lang="es-ES" sz="1400" dirty="0" err="1">
                <a:solidFill>
                  <a:schemeClr val="bg1">
                    <a:lumMod val="50000"/>
                  </a:schemeClr>
                </a:solidFill>
              </a:rPr>
              <a:t>detected</a:t>
            </a:r>
            <a:r>
              <a:rPr lang="es-ES" sz="1400" dirty="0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pPr marL="179387" lvl="1" indent="0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None/>
              <a:defRPr/>
            </a:pPr>
            <a:endParaRPr lang="es-ES" sz="1400" dirty="0">
              <a:solidFill>
                <a:schemeClr val="bg1">
                  <a:lumMod val="50000"/>
                </a:schemeClr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Font typeface="Wingdings" pitchFamily="2" charset="2"/>
              <a:buChar char="q"/>
              <a:defRPr/>
            </a:pP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Performance</a:t>
            </a:r>
          </a:p>
          <a:p>
            <a:pPr lvl="1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Font typeface="Wingdings" pitchFamily="2" charset="2"/>
              <a:buChar char="q"/>
              <a:defRPr/>
            </a:pPr>
            <a:r>
              <a:rPr lang="es-ES" sz="1200" dirty="0" err="1">
                <a:solidFill>
                  <a:schemeClr val="bg1">
                    <a:lumMod val="50000"/>
                  </a:schemeClr>
                </a:solidFill>
              </a:rPr>
              <a:t>Availability</a:t>
            </a:r>
            <a:endParaRPr lang="es-ES" sz="1200" dirty="0">
              <a:solidFill>
                <a:schemeClr val="bg1">
                  <a:lumMod val="50000"/>
                </a:schemeClr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Font typeface="Wingdings" pitchFamily="2" charset="2"/>
              <a:buChar char="q"/>
              <a:defRPr/>
            </a:pPr>
            <a:r>
              <a:rPr lang="es-ES" sz="1200" dirty="0" err="1">
                <a:solidFill>
                  <a:schemeClr val="bg1">
                    <a:lumMod val="50000"/>
                  </a:schemeClr>
                </a:solidFill>
              </a:rPr>
              <a:t>Scalability</a:t>
            </a:r>
            <a:endParaRPr lang="es-ES" sz="1200" dirty="0">
              <a:solidFill>
                <a:schemeClr val="bg1">
                  <a:lumMod val="50000"/>
                </a:schemeClr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Font typeface="Wingdings" pitchFamily="2" charset="2"/>
              <a:buChar char="q"/>
              <a:defRPr/>
            </a:pPr>
            <a:r>
              <a:rPr lang="es-ES" sz="1200" dirty="0" err="1">
                <a:solidFill>
                  <a:schemeClr val="bg1">
                    <a:lumMod val="50000"/>
                  </a:schemeClr>
                </a:solidFill>
              </a:rPr>
              <a:t>Reusability</a:t>
            </a:r>
            <a:endParaRPr lang="es-ES" sz="1200" dirty="0">
              <a:solidFill>
                <a:schemeClr val="bg1">
                  <a:lumMod val="50000"/>
                </a:schemeClr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Font typeface="Wingdings" pitchFamily="2" charset="2"/>
              <a:buChar char="q"/>
              <a:defRPr/>
            </a:pPr>
            <a:r>
              <a:rPr lang="es-ES" sz="1200" dirty="0" err="1">
                <a:solidFill>
                  <a:schemeClr val="bg1">
                    <a:lumMod val="50000"/>
                  </a:schemeClr>
                </a:solidFill>
              </a:rPr>
              <a:t>Maintainability</a:t>
            </a:r>
            <a:endParaRPr lang="es-ES" sz="1200" dirty="0">
              <a:solidFill>
                <a:schemeClr val="bg1">
                  <a:lumMod val="50000"/>
                </a:schemeClr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Font typeface="Wingdings" pitchFamily="2" charset="2"/>
              <a:buChar char="q"/>
              <a:defRPr/>
            </a:pPr>
            <a:endParaRPr lang="es-ES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9387" lvl="1" indent="0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None/>
              <a:defRPr/>
            </a:pPr>
            <a:r>
              <a:rPr lang="es-ES_tradnl" altLang="es-MX" sz="1200" b="1" dirty="0" err="1">
                <a:solidFill>
                  <a:srgbClr val="C5277F"/>
                </a:solidFill>
              </a:rPr>
              <a:t>Scope</a:t>
            </a:r>
            <a:endParaRPr lang="es-ES_tradnl" altLang="es-MX" sz="1200" b="1" dirty="0">
              <a:solidFill>
                <a:srgbClr val="C5277F"/>
              </a:solidFill>
            </a:endParaRPr>
          </a:p>
          <a:p>
            <a:pPr marL="179387" lvl="1" indent="0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None/>
              <a:defRPr/>
            </a:pPr>
            <a:endParaRPr lang="es-ES_tradnl" altLang="es-MX" sz="1200" b="1" dirty="0">
              <a:solidFill>
                <a:srgbClr val="C5277F"/>
              </a:solidFill>
            </a:endParaRPr>
          </a:p>
          <a:p>
            <a:pPr marL="179387" lvl="1" indent="0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None/>
              <a:defRPr/>
            </a:pPr>
            <a:r>
              <a:rPr lang="en-US" sz="1200" dirty="0"/>
              <a:t>Define the architecture for the attention of the project of alerts and notifications in the Data Lake, satisfying the non-functional requirements detected.</a:t>
            </a:r>
            <a:endParaRPr lang="es-ES_tradnl" altLang="es-MX" sz="1200" b="1" dirty="0">
              <a:solidFill>
                <a:srgbClr val="C5277F"/>
              </a:solidFill>
            </a:endParaRPr>
          </a:p>
          <a:p>
            <a:pPr marL="179387" lvl="1" indent="0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None/>
              <a:defRPr/>
            </a:pPr>
            <a:endParaRPr lang="es-E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149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3"/>
          <p:cNvSpPr txBox="1"/>
          <p:nvPr/>
        </p:nvSpPr>
        <p:spPr>
          <a:xfrm>
            <a:off x="420831" y="637567"/>
            <a:ext cx="9500409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000">
                <a:solidFill>
                  <a:srgbClr val="104D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defRPr/>
            </a:pPr>
            <a:r>
              <a:rPr lang="en-US" sz="1800" b="1" dirty="0">
                <a:solidFill>
                  <a:srgbClr val="87CBD8"/>
                </a:solidFill>
              </a:rPr>
              <a:t>Description of the Technical Solution and its Evolution</a:t>
            </a: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51E0C841-ED3D-2F4C-9A84-F2C04DC16BC0}"/>
              </a:ext>
            </a:extLst>
          </p:cNvPr>
          <p:cNvSpPr txBox="1"/>
          <p:nvPr/>
        </p:nvSpPr>
        <p:spPr>
          <a:xfrm>
            <a:off x="404809" y="237462"/>
            <a:ext cx="5816248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Needs and Solution Proposal (I)</a:t>
            </a:r>
          </a:p>
        </p:txBody>
      </p:sp>
      <p:sp>
        <p:nvSpPr>
          <p:cNvPr id="72" name="Rectangle 5">
            <a:extLst>
              <a:ext uri="{FF2B5EF4-FFF2-40B4-BE49-F238E27FC236}">
                <a16:creationId xmlns:a16="http://schemas.microsoft.com/office/drawing/2014/main" id="{CB5A5A91-F407-7C44-8074-FA033D3B1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550" y="1022350"/>
            <a:ext cx="9163050" cy="228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rgbClr val="FF0000"/>
              </a:buClr>
              <a:buChar char="w"/>
              <a:defRPr sz="2400" b="1">
                <a:solidFill>
                  <a:srgbClr val="FF0000"/>
                </a:solidFill>
                <a:latin typeface="Arial" charset="0"/>
              </a:defRPr>
            </a:lvl1pPr>
            <a:lvl2pPr marL="441325" indent="-261938" eaLnBrk="0" hangingPunct="0">
              <a:buClr>
                <a:schemeClr val="bg2"/>
              </a:buClr>
              <a:buChar char="§"/>
              <a:defRPr sz="2600">
                <a:solidFill>
                  <a:srgbClr val="808080"/>
                </a:solidFill>
                <a:latin typeface="Arial" charset="0"/>
              </a:defRPr>
            </a:lvl2pPr>
            <a:lvl3pPr marL="1050925" indent="-17145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20000"/>
              </a:spcBef>
              <a:buClr>
                <a:schemeClr val="bg1"/>
              </a:buClr>
              <a:buSzPct val="25000"/>
              <a:buFont typeface="Times"/>
              <a:buChar char="•"/>
              <a:defRPr/>
            </a:pPr>
            <a:endParaRPr lang="es-ES_tradnl" altLang="es-MX" dirty="0"/>
          </a:p>
          <a:p>
            <a:pPr marL="179387" lvl="1" indent="0" algn="just" eaLnBrk="1" hangingPunct="1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None/>
              <a:defRPr/>
            </a:pPr>
            <a:r>
              <a:rPr lang="es-ES_tradnl" altLang="es-MX" sz="1400" b="1" dirty="0" err="1">
                <a:solidFill>
                  <a:srgbClr val="C5277F"/>
                </a:solidFill>
              </a:rPr>
              <a:t>List</a:t>
            </a:r>
            <a:r>
              <a:rPr lang="es-ES_tradnl" altLang="es-MX" sz="1400" b="1" dirty="0">
                <a:solidFill>
                  <a:srgbClr val="C5277F"/>
                </a:solidFill>
              </a:rPr>
              <a:t> of </a:t>
            </a:r>
            <a:r>
              <a:rPr lang="es-ES_tradnl" altLang="es-MX" sz="1400" b="1" dirty="0" err="1">
                <a:solidFill>
                  <a:srgbClr val="C5277F"/>
                </a:solidFill>
              </a:rPr>
              <a:t>Significant</a:t>
            </a:r>
            <a:r>
              <a:rPr lang="es-ES_tradnl" altLang="es-MX" sz="1400" b="1" dirty="0">
                <a:solidFill>
                  <a:srgbClr val="C5277F"/>
                </a:solidFill>
              </a:rPr>
              <a:t> Use Cases:</a:t>
            </a:r>
          </a:p>
          <a:p>
            <a:pPr marL="179387" lvl="1" indent="0" algn="just" eaLnBrk="1" hangingPunct="1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None/>
              <a:defRPr/>
            </a:pPr>
            <a:endParaRPr lang="es-ES" sz="1400" dirty="0">
              <a:solidFill>
                <a:schemeClr val="bg1">
                  <a:lumMod val="50000"/>
                </a:schemeClr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Font typeface="Wingdings" pitchFamily="2" charset="2"/>
              <a:buChar char="q"/>
              <a:defRPr/>
            </a:pPr>
            <a:r>
              <a:rPr lang="es-ES" sz="1200" dirty="0">
                <a:solidFill>
                  <a:schemeClr val="bg1">
                    <a:lumMod val="50000"/>
                  </a:schemeClr>
                </a:solidFill>
              </a:rPr>
              <a:t>Pendiente</a:t>
            </a:r>
          </a:p>
          <a:p>
            <a:pPr marL="179387" lvl="1" indent="0" algn="just" eaLnBrk="1" hangingPunct="1">
              <a:spcBef>
                <a:spcPct val="20000"/>
              </a:spcBef>
              <a:buClr>
                <a:srgbClr val="C5277F"/>
              </a:buClr>
              <a:buSzPct val="65000"/>
              <a:buNone/>
              <a:defRPr/>
            </a:pPr>
            <a:endParaRPr lang="es-E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798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3"/>
          <p:cNvSpPr txBox="1"/>
          <p:nvPr/>
        </p:nvSpPr>
        <p:spPr>
          <a:xfrm>
            <a:off x="420831" y="637567"/>
            <a:ext cx="5675169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000">
                <a:solidFill>
                  <a:srgbClr val="104D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/>
            </a:pPr>
            <a:r>
              <a:rPr lang="en-US" sz="1800" b="1" dirty="0">
                <a:solidFill>
                  <a:srgbClr val="87CBD8"/>
                </a:solidFill>
              </a:rPr>
              <a:t>Global Technical Map of Architecture</a:t>
            </a: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51E0C841-ED3D-2F4C-9A84-F2C04DC16BC0}"/>
              </a:ext>
            </a:extLst>
          </p:cNvPr>
          <p:cNvSpPr txBox="1"/>
          <p:nvPr/>
        </p:nvSpPr>
        <p:spPr>
          <a:xfrm>
            <a:off x="404809" y="237462"/>
            <a:ext cx="5816248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Needs and Solution Proposal (I)</a:t>
            </a:r>
          </a:p>
        </p:txBody>
      </p:sp>
      <p:sp>
        <p:nvSpPr>
          <p:cNvPr id="72" name="Rectangle 5">
            <a:extLst>
              <a:ext uri="{FF2B5EF4-FFF2-40B4-BE49-F238E27FC236}">
                <a16:creationId xmlns:a16="http://schemas.microsoft.com/office/drawing/2014/main" id="{F7A7F4D9-973D-B747-87ED-3DD469F213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550" y="1022350"/>
            <a:ext cx="11322978" cy="2552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rgbClr val="FF0000"/>
              </a:buClr>
              <a:buChar char="w"/>
              <a:defRPr sz="2400" b="1">
                <a:solidFill>
                  <a:srgbClr val="FF0000"/>
                </a:solidFill>
                <a:latin typeface="Arial" charset="0"/>
              </a:defRPr>
            </a:lvl1pPr>
            <a:lvl2pPr marL="441325" indent="-261938" eaLnBrk="0" hangingPunct="0">
              <a:buClr>
                <a:schemeClr val="bg2"/>
              </a:buClr>
              <a:buChar char="§"/>
              <a:defRPr sz="2600">
                <a:solidFill>
                  <a:srgbClr val="808080"/>
                </a:solidFill>
                <a:latin typeface="Arial" charset="0"/>
              </a:defRPr>
            </a:lvl2pPr>
            <a:lvl3pPr marL="1050925" indent="-17145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20000"/>
              </a:spcBef>
              <a:buClr>
                <a:schemeClr val="bg1"/>
              </a:buClr>
              <a:buSzPct val="25000"/>
              <a:buFont typeface="Times"/>
              <a:buChar char="•"/>
              <a:defRPr/>
            </a:pPr>
            <a:r>
              <a:rPr lang="es-ES_tradnl" altLang="es-MX" sz="1200" dirty="0" err="1">
                <a:solidFill>
                  <a:srgbClr val="C5277F"/>
                </a:solidFill>
              </a:rPr>
              <a:t>Differences</a:t>
            </a:r>
            <a:r>
              <a:rPr lang="es-ES_tradnl" altLang="es-MX" sz="1200" dirty="0">
                <a:solidFill>
                  <a:srgbClr val="C5277F"/>
                </a:solidFill>
              </a:rPr>
              <a:t> </a:t>
            </a:r>
            <a:r>
              <a:rPr lang="es-ES_tradnl" altLang="es-MX" sz="1200" dirty="0" err="1">
                <a:solidFill>
                  <a:srgbClr val="C5277F"/>
                </a:solidFill>
              </a:rPr>
              <a:t>between</a:t>
            </a:r>
            <a:r>
              <a:rPr lang="es-ES_tradnl" altLang="es-MX" sz="1200" dirty="0">
                <a:solidFill>
                  <a:srgbClr val="C5277F"/>
                </a:solidFill>
              </a:rPr>
              <a:t> </a:t>
            </a:r>
            <a:r>
              <a:rPr lang="es-ES_tradnl" altLang="es-MX" sz="1200" dirty="0" err="1">
                <a:solidFill>
                  <a:srgbClr val="C5277F"/>
                </a:solidFill>
              </a:rPr>
              <a:t>Hive</a:t>
            </a:r>
            <a:r>
              <a:rPr lang="es-ES_tradnl" altLang="es-MX" sz="1200" dirty="0">
                <a:solidFill>
                  <a:srgbClr val="C5277F"/>
                </a:solidFill>
              </a:rPr>
              <a:t> and </a:t>
            </a:r>
            <a:r>
              <a:rPr lang="es-ES_tradnl" altLang="es-MX" sz="1200" dirty="0" err="1">
                <a:solidFill>
                  <a:srgbClr val="C5277F"/>
                </a:solidFill>
              </a:rPr>
              <a:t>Hbase</a:t>
            </a:r>
            <a:endParaRPr lang="es-ES_tradnl" altLang="es-MX" sz="1200" dirty="0">
              <a:solidFill>
                <a:srgbClr val="C5277F"/>
              </a:solidFill>
            </a:endParaRPr>
          </a:p>
          <a:p>
            <a:pPr eaLnBrk="1" hangingPunct="1">
              <a:lnSpc>
                <a:spcPts val="2400"/>
              </a:lnSpc>
              <a:spcBef>
                <a:spcPct val="20000"/>
              </a:spcBef>
              <a:buClr>
                <a:schemeClr val="bg1"/>
              </a:buClr>
              <a:buSzPct val="25000"/>
              <a:buNone/>
              <a:defRPr/>
            </a:pPr>
            <a:endParaRPr lang="es-ES_tradnl" altLang="es-MX" sz="1600" dirty="0">
              <a:solidFill>
                <a:srgbClr val="C5277F"/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HBase is a database management system; It is compatible with transaction processing and analytical processing.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Hive is a data storage system, which can only be used for analytical processing.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HBase supports low latency operations and random data access.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Hive only supports batch processing, which leads to high latency. HBase does not support any SQL interface to interact with the data in the table.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You need to write Java or Scala code to read and write data in HBase tables.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Hive supports very easy access with SQL, which makes it very easy to read and write data to your tables.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In HBase, data modeling involves flexible data models and column-oriented data storage, which must support data denormalization. The columns of the HBase tables are decided when writing data to the tables. In Hive, the data model involves tables with a fixed scheme such as an RDBMS data model</a:t>
            </a:r>
          </a:p>
          <a:p>
            <a:pPr marL="0" lvl="1" indent="0" eaLnBrk="1" hangingPunct="1">
              <a:lnSpc>
                <a:spcPts val="2400"/>
              </a:lnSpc>
              <a:spcBef>
                <a:spcPct val="20000"/>
              </a:spcBef>
              <a:buClr>
                <a:schemeClr val="bg1"/>
              </a:buClr>
              <a:buSzPct val="25000"/>
              <a:buNone/>
              <a:defRPr/>
            </a:pPr>
            <a:endParaRPr lang="es-ES" sz="1400" dirty="0"/>
          </a:p>
        </p:txBody>
      </p:sp>
      <p:sp>
        <p:nvSpPr>
          <p:cNvPr id="73" name="Rectangle 5">
            <a:extLst>
              <a:ext uri="{FF2B5EF4-FFF2-40B4-BE49-F238E27FC236}">
                <a16:creationId xmlns:a16="http://schemas.microsoft.com/office/drawing/2014/main" id="{B6EE1789-64F7-C243-8A32-32047DB02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654" y="3639311"/>
            <a:ext cx="11322978" cy="2011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rgbClr val="FF0000"/>
              </a:buClr>
              <a:buChar char="w"/>
              <a:defRPr sz="2400" b="1">
                <a:solidFill>
                  <a:srgbClr val="FF0000"/>
                </a:solidFill>
                <a:latin typeface="Arial" charset="0"/>
              </a:defRPr>
            </a:lvl1pPr>
            <a:lvl2pPr marL="441325" indent="-261938" eaLnBrk="0" hangingPunct="0">
              <a:buClr>
                <a:schemeClr val="bg2"/>
              </a:buClr>
              <a:buChar char="§"/>
              <a:defRPr sz="2600">
                <a:solidFill>
                  <a:srgbClr val="808080"/>
                </a:solidFill>
                <a:latin typeface="Arial" charset="0"/>
              </a:defRPr>
            </a:lvl2pPr>
            <a:lvl3pPr marL="1050925" indent="-17145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20000"/>
              </a:spcBef>
              <a:buClr>
                <a:schemeClr val="bg1"/>
              </a:buClr>
              <a:buSzPct val="25000"/>
              <a:buFont typeface="Times"/>
              <a:buChar char="•"/>
              <a:defRPr/>
            </a:pPr>
            <a:r>
              <a:rPr lang="es-ES_tradnl" altLang="es-MX" sz="1200" dirty="0" err="1">
                <a:solidFill>
                  <a:srgbClr val="C5277F"/>
                </a:solidFill>
              </a:rPr>
              <a:t>Advantage</a:t>
            </a:r>
            <a:r>
              <a:rPr lang="es-ES_tradnl" altLang="es-MX" sz="1200" dirty="0">
                <a:solidFill>
                  <a:srgbClr val="C5277F"/>
                </a:solidFill>
              </a:rPr>
              <a:t> of </a:t>
            </a:r>
            <a:r>
              <a:rPr lang="es-ES_tradnl" altLang="es-MX" sz="1200" dirty="0" err="1">
                <a:solidFill>
                  <a:srgbClr val="C5277F"/>
                </a:solidFill>
              </a:rPr>
              <a:t>Hbase</a:t>
            </a:r>
            <a:endParaRPr lang="es-ES_tradnl" altLang="es-MX" sz="1600" dirty="0">
              <a:solidFill>
                <a:srgbClr val="C5277F"/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endParaRPr lang="en-US" sz="1200" dirty="0"/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Can store large data sets on top of HDFS file storage and will aggregate and analyze billions of rows present in the HBase tables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In HBase, the database can be shared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Operations such as data reading and processing will take small amount of time as compared to traditional relational models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Random read and write operations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For online analytical operations, HBase is used extensively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Applications such as real-time data updates, HBase can be used</a:t>
            </a:r>
            <a:endParaRPr lang="es-ES" sz="1400" dirty="0"/>
          </a:p>
        </p:txBody>
      </p:sp>
    </p:spTree>
    <p:extLst>
      <p:ext uri="{BB962C8B-B14F-4D97-AF65-F5344CB8AC3E}">
        <p14:creationId xmlns:p14="http://schemas.microsoft.com/office/powerpoint/2010/main" val="28322999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3"/>
          <p:cNvSpPr txBox="1"/>
          <p:nvPr/>
        </p:nvSpPr>
        <p:spPr>
          <a:xfrm>
            <a:off x="420831" y="637567"/>
            <a:ext cx="5675169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000">
                <a:solidFill>
                  <a:srgbClr val="104D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/>
            </a:pPr>
            <a:r>
              <a:rPr lang="en-US" sz="1800" b="1" dirty="0">
                <a:solidFill>
                  <a:srgbClr val="87CBD8"/>
                </a:solidFill>
              </a:rPr>
              <a:t>Global Technical Map of Architecture</a:t>
            </a: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51E0C841-ED3D-2F4C-9A84-F2C04DC16BC0}"/>
              </a:ext>
            </a:extLst>
          </p:cNvPr>
          <p:cNvSpPr txBox="1"/>
          <p:nvPr/>
        </p:nvSpPr>
        <p:spPr>
          <a:xfrm>
            <a:off x="404809" y="237462"/>
            <a:ext cx="5816248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Needs and Solution Proposal (II)</a:t>
            </a:r>
          </a:p>
        </p:txBody>
      </p:sp>
      <p:sp>
        <p:nvSpPr>
          <p:cNvPr id="73" name="Rectangle 5">
            <a:extLst>
              <a:ext uri="{FF2B5EF4-FFF2-40B4-BE49-F238E27FC236}">
                <a16:creationId xmlns:a16="http://schemas.microsoft.com/office/drawing/2014/main" id="{B6EE1789-64F7-C243-8A32-32047DB02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654" y="1033271"/>
            <a:ext cx="11322978" cy="4937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rgbClr val="FF0000"/>
              </a:buClr>
              <a:buChar char="w"/>
              <a:defRPr sz="2400" b="1">
                <a:solidFill>
                  <a:srgbClr val="FF0000"/>
                </a:solidFill>
                <a:latin typeface="Arial" charset="0"/>
              </a:defRPr>
            </a:lvl1pPr>
            <a:lvl2pPr marL="441325" indent="-261938" eaLnBrk="0" hangingPunct="0">
              <a:buClr>
                <a:schemeClr val="bg2"/>
              </a:buClr>
              <a:buChar char="§"/>
              <a:defRPr sz="2600">
                <a:solidFill>
                  <a:srgbClr val="808080"/>
                </a:solidFill>
                <a:latin typeface="Arial" charset="0"/>
              </a:defRPr>
            </a:lvl2pPr>
            <a:lvl3pPr marL="1050925" indent="-17145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bg2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20000"/>
              </a:spcBef>
              <a:buClr>
                <a:schemeClr val="bg1"/>
              </a:buClr>
              <a:buSzPct val="25000"/>
              <a:buFont typeface="Times"/>
              <a:buChar char="•"/>
              <a:defRPr/>
            </a:pPr>
            <a:r>
              <a:rPr lang="es-ES_tradnl" altLang="es-MX" sz="1200" dirty="0" err="1">
                <a:solidFill>
                  <a:srgbClr val="C5277F"/>
                </a:solidFill>
              </a:rPr>
              <a:t>Advantage</a:t>
            </a:r>
            <a:r>
              <a:rPr lang="es-ES_tradnl" altLang="es-MX" sz="1200" dirty="0">
                <a:solidFill>
                  <a:srgbClr val="C5277F"/>
                </a:solidFill>
              </a:rPr>
              <a:t> of </a:t>
            </a:r>
            <a:r>
              <a:rPr lang="es-ES_tradnl" altLang="es-MX" sz="1200" dirty="0" err="1">
                <a:solidFill>
                  <a:srgbClr val="C5277F"/>
                </a:solidFill>
              </a:rPr>
              <a:t>Hbase</a:t>
            </a:r>
            <a:endParaRPr lang="es-ES_tradnl" altLang="es-MX" sz="1600" dirty="0">
              <a:solidFill>
                <a:srgbClr val="C5277F"/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endParaRPr lang="en-US" sz="1200" dirty="0"/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Great for analytics in association with Hadoop MapReduce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It can handle very large volumes of data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Supports scaling out in coordination with Hadoop file system even on commodity hardware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Fault tolerance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Very flexible on schema design/no fixed schema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Can be integrated with Hive for SQL-like queries, which is better for DBAs who are more familiar with SQL queries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Auto-</a:t>
            </a:r>
            <a:r>
              <a:rPr lang="en-US" sz="1200" dirty="0" err="1"/>
              <a:t>sharding</a:t>
            </a:r>
            <a:endParaRPr lang="en-US" sz="1200" dirty="0"/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Auto failover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Simple client interface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200" dirty="0"/>
              <a:t>Row-level atomicity, that is, the PUT operation will either write or fail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endParaRPr lang="en-US" sz="1200" dirty="0"/>
          </a:p>
          <a:p>
            <a:pPr marL="0" lvl="1" indent="-285750" eaLnBrk="1" hangingPunct="1">
              <a:lnSpc>
                <a:spcPts val="2400"/>
              </a:lnSpc>
              <a:spcBef>
                <a:spcPct val="20000"/>
              </a:spcBef>
              <a:buClr>
                <a:schemeClr val="bg1"/>
              </a:buClr>
              <a:buSzPct val="25000"/>
              <a:buFont typeface="Times"/>
              <a:buChar char="•"/>
              <a:defRPr/>
            </a:pPr>
            <a:r>
              <a:rPr lang="es-ES_tradnl" altLang="es-MX" sz="1200" b="1" dirty="0" err="1">
                <a:solidFill>
                  <a:srgbClr val="C5277F"/>
                </a:solidFill>
              </a:rPr>
              <a:t>The</a:t>
            </a:r>
            <a:r>
              <a:rPr lang="es-ES_tradnl" altLang="es-MX" sz="1200" b="1" dirty="0">
                <a:solidFill>
                  <a:srgbClr val="C5277F"/>
                </a:solidFill>
              </a:rPr>
              <a:t> </a:t>
            </a:r>
            <a:r>
              <a:rPr lang="es-ES_tradnl" altLang="es-MX" sz="1200" b="1" dirty="0" err="1">
                <a:solidFill>
                  <a:srgbClr val="C5277F"/>
                </a:solidFill>
              </a:rPr>
              <a:t>following</a:t>
            </a:r>
            <a:r>
              <a:rPr lang="es-ES_tradnl" altLang="es-MX" sz="1200" b="1" dirty="0">
                <a:solidFill>
                  <a:srgbClr val="C5277F"/>
                </a:solidFill>
              </a:rPr>
              <a:t> are </a:t>
            </a:r>
            <a:r>
              <a:rPr lang="es-ES_tradnl" altLang="es-MX" sz="1200" b="1" dirty="0" err="1">
                <a:solidFill>
                  <a:srgbClr val="C5277F"/>
                </a:solidFill>
              </a:rPr>
              <a:t>some</a:t>
            </a:r>
            <a:r>
              <a:rPr lang="es-ES_tradnl" altLang="es-MX" sz="1200" b="1" dirty="0">
                <a:solidFill>
                  <a:srgbClr val="C5277F"/>
                </a:solidFill>
              </a:rPr>
              <a:t> </a:t>
            </a:r>
            <a:r>
              <a:rPr lang="es-ES_tradnl" altLang="es-MX" sz="1200" b="1" dirty="0" err="1">
                <a:solidFill>
                  <a:srgbClr val="C5277F"/>
                </a:solidFill>
              </a:rPr>
              <a:t>missing</a:t>
            </a:r>
            <a:r>
              <a:rPr lang="es-ES_tradnl" altLang="es-MX" sz="1200" b="1" dirty="0">
                <a:solidFill>
                  <a:srgbClr val="C5277F"/>
                </a:solidFill>
              </a:rPr>
              <a:t> </a:t>
            </a:r>
            <a:r>
              <a:rPr lang="es-ES_tradnl" altLang="es-MX" sz="1200" b="1" dirty="0" err="1">
                <a:solidFill>
                  <a:srgbClr val="C5277F"/>
                </a:solidFill>
              </a:rPr>
              <a:t>aspects</a:t>
            </a:r>
            <a:r>
              <a:rPr lang="es-ES_tradnl" altLang="es-MX" sz="1200" b="1" dirty="0">
                <a:solidFill>
                  <a:srgbClr val="C5277F"/>
                </a:solidFill>
              </a:rPr>
              <a:t>  of </a:t>
            </a:r>
            <a:r>
              <a:rPr lang="es-ES_tradnl" altLang="es-MX" sz="1200" b="1" dirty="0" err="1">
                <a:solidFill>
                  <a:srgbClr val="C5277F"/>
                </a:solidFill>
              </a:rPr>
              <a:t>Hbase</a:t>
            </a:r>
            <a:endParaRPr lang="es-ES_tradnl" altLang="es-MX" sz="1200" b="1" dirty="0">
              <a:solidFill>
                <a:srgbClr val="C5277F"/>
              </a:solidFill>
            </a:endParaRPr>
          </a:p>
          <a:p>
            <a:pPr marL="0" lvl="1" indent="-285750" eaLnBrk="1" hangingPunct="1">
              <a:lnSpc>
                <a:spcPts val="2400"/>
              </a:lnSpc>
              <a:spcBef>
                <a:spcPct val="20000"/>
              </a:spcBef>
              <a:buClr>
                <a:schemeClr val="bg1"/>
              </a:buClr>
              <a:buSzPct val="25000"/>
              <a:buFont typeface="Times"/>
              <a:buChar char="•"/>
              <a:defRPr/>
            </a:pPr>
            <a:endParaRPr lang="es-ES_tradnl" altLang="es-MX" sz="1200" b="1" dirty="0">
              <a:solidFill>
                <a:srgbClr val="C5277F"/>
              </a:solidFill>
            </a:endParaRP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s-ES" sz="1200" dirty="0"/>
              <a:t>Single </a:t>
            </a:r>
            <a:r>
              <a:rPr lang="es-ES" sz="1200" dirty="0" err="1"/>
              <a:t>point</a:t>
            </a:r>
            <a:r>
              <a:rPr lang="es-ES" sz="1200" dirty="0"/>
              <a:t> of </a:t>
            </a:r>
            <a:r>
              <a:rPr lang="es-ES" sz="1200" dirty="0" err="1"/>
              <a:t>failure</a:t>
            </a:r>
            <a:r>
              <a:rPr lang="es-ES" sz="1200" dirty="0"/>
              <a:t> (</a:t>
            </a:r>
            <a:r>
              <a:rPr lang="es-ES" sz="1200" dirty="0" err="1"/>
              <a:t>when</a:t>
            </a:r>
            <a:r>
              <a:rPr lang="es-ES" sz="1200" dirty="0"/>
              <a:t> </a:t>
            </a:r>
            <a:r>
              <a:rPr lang="es-ES" sz="1200" dirty="0" err="1"/>
              <a:t>only</a:t>
            </a:r>
            <a:r>
              <a:rPr lang="es-ES" sz="1200" dirty="0"/>
              <a:t> </a:t>
            </a:r>
            <a:r>
              <a:rPr lang="es-ES" sz="1200" dirty="0" err="1"/>
              <a:t>one</a:t>
            </a:r>
            <a:r>
              <a:rPr lang="es-ES" sz="1200" dirty="0"/>
              <a:t> </a:t>
            </a:r>
            <a:r>
              <a:rPr lang="es-ES" sz="1200" dirty="0" err="1"/>
              <a:t>HMaster</a:t>
            </a:r>
            <a:r>
              <a:rPr lang="es-ES" sz="1200" dirty="0"/>
              <a:t> </a:t>
            </a:r>
            <a:r>
              <a:rPr lang="es-ES" sz="1200" dirty="0" err="1"/>
              <a:t>is</a:t>
            </a:r>
            <a:r>
              <a:rPr lang="es-ES" sz="1200" dirty="0"/>
              <a:t> </a:t>
            </a:r>
            <a:r>
              <a:rPr lang="es-ES" sz="1200" dirty="0" err="1"/>
              <a:t>used</a:t>
            </a:r>
            <a:r>
              <a:rPr lang="es-ES" sz="1200" dirty="0"/>
              <a:t>)</a:t>
            </a:r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s-ES" sz="1200" dirty="0"/>
              <a:t>No </a:t>
            </a:r>
            <a:r>
              <a:rPr lang="es-ES" sz="1200" dirty="0" err="1"/>
              <a:t>transaction</a:t>
            </a:r>
            <a:r>
              <a:rPr lang="es-ES" sz="1200" dirty="0"/>
              <a:t> </a:t>
            </a:r>
            <a:r>
              <a:rPr lang="es-ES" sz="1200" dirty="0" err="1"/>
              <a:t>support</a:t>
            </a:r>
            <a:endParaRPr lang="es-ES" sz="1200" dirty="0"/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s-ES" sz="1200" dirty="0" err="1"/>
              <a:t>JOINs</a:t>
            </a:r>
            <a:r>
              <a:rPr lang="es-ES" sz="1200" dirty="0"/>
              <a:t> are </a:t>
            </a:r>
            <a:r>
              <a:rPr lang="es-ES" sz="1200" dirty="0" err="1"/>
              <a:t>handled</a:t>
            </a:r>
            <a:r>
              <a:rPr lang="es-ES" sz="1200" dirty="0"/>
              <a:t> in </a:t>
            </a:r>
            <a:r>
              <a:rPr lang="es-ES" sz="1200" dirty="0" err="1"/>
              <a:t>MapReduce</a:t>
            </a:r>
            <a:r>
              <a:rPr lang="es-ES" sz="1200" dirty="0"/>
              <a:t> </a:t>
            </a:r>
            <a:r>
              <a:rPr lang="es-ES" sz="1200" dirty="0" err="1"/>
              <a:t>layer</a:t>
            </a:r>
            <a:r>
              <a:rPr lang="es-ES" sz="1200" dirty="0"/>
              <a:t> </a:t>
            </a:r>
            <a:r>
              <a:rPr lang="es-ES" sz="1200" dirty="0" err="1"/>
              <a:t>rather</a:t>
            </a:r>
            <a:r>
              <a:rPr lang="es-ES" sz="1200" dirty="0"/>
              <a:t> </a:t>
            </a:r>
            <a:r>
              <a:rPr lang="es-ES" sz="1200" dirty="0" err="1"/>
              <a:t>than</a:t>
            </a:r>
            <a:r>
              <a:rPr lang="es-ES" sz="1200" dirty="0"/>
              <a:t> </a:t>
            </a:r>
            <a:r>
              <a:rPr lang="es-ES" sz="1200" dirty="0" err="1"/>
              <a:t>the</a:t>
            </a:r>
            <a:r>
              <a:rPr lang="es-ES" sz="1200" dirty="0"/>
              <a:t> </a:t>
            </a:r>
            <a:r>
              <a:rPr lang="es-ES" sz="1200" dirty="0" err="1"/>
              <a:t>database</a:t>
            </a:r>
            <a:r>
              <a:rPr lang="es-ES" sz="1200" dirty="0"/>
              <a:t> </a:t>
            </a:r>
            <a:r>
              <a:rPr lang="es-ES" sz="1200" dirty="0" err="1"/>
              <a:t>itself</a:t>
            </a:r>
            <a:endParaRPr lang="es-ES" sz="1200" dirty="0"/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s-ES" sz="1200" dirty="0" err="1"/>
              <a:t>Indexed</a:t>
            </a:r>
            <a:r>
              <a:rPr lang="es-ES" sz="1200" dirty="0"/>
              <a:t> and </a:t>
            </a:r>
            <a:r>
              <a:rPr lang="es-ES" sz="1200" dirty="0" err="1"/>
              <a:t>sorted</a:t>
            </a:r>
            <a:r>
              <a:rPr lang="es-ES" sz="1200" dirty="0"/>
              <a:t> </a:t>
            </a:r>
            <a:r>
              <a:rPr lang="es-ES" sz="1200" dirty="0" err="1"/>
              <a:t>only</a:t>
            </a:r>
            <a:r>
              <a:rPr lang="es-ES" sz="1200" dirty="0"/>
              <a:t> </a:t>
            </a:r>
            <a:r>
              <a:rPr lang="es-ES" sz="1200" dirty="0" err="1"/>
              <a:t>on</a:t>
            </a:r>
            <a:r>
              <a:rPr lang="es-ES" sz="1200" dirty="0"/>
              <a:t> </a:t>
            </a:r>
            <a:r>
              <a:rPr lang="es-ES" sz="1200" dirty="0" err="1"/>
              <a:t>key</a:t>
            </a:r>
            <a:r>
              <a:rPr lang="es-ES" sz="1200" dirty="0"/>
              <a:t>, </a:t>
            </a:r>
            <a:r>
              <a:rPr lang="es-ES" sz="1200" dirty="0" err="1"/>
              <a:t>but</a:t>
            </a:r>
            <a:r>
              <a:rPr lang="es-ES" sz="1200" dirty="0"/>
              <a:t> RDBMS can be </a:t>
            </a:r>
            <a:r>
              <a:rPr lang="es-ES" sz="1200" dirty="0" err="1"/>
              <a:t>indexed</a:t>
            </a:r>
            <a:r>
              <a:rPr lang="es-ES" sz="1200" dirty="0"/>
              <a:t> </a:t>
            </a:r>
            <a:r>
              <a:rPr lang="es-ES" sz="1200" dirty="0" err="1"/>
              <a:t>on</a:t>
            </a:r>
            <a:r>
              <a:rPr lang="es-ES" sz="1200" dirty="0"/>
              <a:t> </a:t>
            </a:r>
            <a:r>
              <a:rPr lang="es-ES" sz="1200" dirty="0" err="1"/>
              <a:t>some</a:t>
            </a:r>
            <a:r>
              <a:rPr lang="es-ES" sz="1200" dirty="0"/>
              <a:t> </a:t>
            </a:r>
            <a:r>
              <a:rPr lang="es-ES" sz="1200" dirty="0" err="1"/>
              <a:t>arbitrary</a:t>
            </a:r>
            <a:r>
              <a:rPr lang="es-ES" sz="1200" dirty="0"/>
              <a:t> </a:t>
            </a:r>
            <a:r>
              <a:rPr lang="es-ES" sz="1200" dirty="0" err="1"/>
              <a:t>field</a:t>
            </a:r>
            <a:endParaRPr lang="es-ES" sz="1200" dirty="0"/>
          </a:p>
          <a:p>
            <a:pPr lvl="1" algn="just" eaLnBrk="1" hangingPunct="1">
              <a:spcBef>
                <a:spcPct val="20000"/>
              </a:spcBef>
              <a:buClr>
                <a:schemeClr val="accent2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s-ES" sz="1200" dirty="0"/>
              <a:t>No </a:t>
            </a:r>
            <a:r>
              <a:rPr lang="es-ES" sz="1200" dirty="0" err="1"/>
              <a:t>built</a:t>
            </a:r>
            <a:r>
              <a:rPr lang="es-ES" sz="1200" dirty="0"/>
              <a:t>-in </a:t>
            </a:r>
            <a:r>
              <a:rPr lang="es-ES" sz="1200" dirty="0" err="1"/>
              <a:t>authentication</a:t>
            </a:r>
            <a:r>
              <a:rPr lang="es-ES" sz="1200" dirty="0"/>
              <a:t> </a:t>
            </a:r>
            <a:r>
              <a:rPr lang="es-ES" sz="1200" dirty="0" err="1"/>
              <a:t>or</a:t>
            </a:r>
            <a:r>
              <a:rPr lang="es-ES" sz="1200" dirty="0"/>
              <a:t> </a:t>
            </a:r>
            <a:r>
              <a:rPr lang="es-ES" sz="1200" dirty="0" err="1"/>
              <a:t>permissions</a:t>
            </a:r>
            <a:endParaRPr lang="es-ES" sz="1200" dirty="0"/>
          </a:p>
        </p:txBody>
      </p:sp>
    </p:spTree>
    <p:extLst>
      <p:ext uri="{BB962C8B-B14F-4D97-AF65-F5344CB8AC3E}">
        <p14:creationId xmlns:p14="http://schemas.microsoft.com/office/powerpoint/2010/main" val="27510783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Rectangle 150">
            <a:extLst>
              <a:ext uri="{FF2B5EF4-FFF2-40B4-BE49-F238E27FC236}">
                <a16:creationId xmlns:a16="http://schemas.microsoft.com/office/drawing/2014/main" id="{201D0639-BB44-C54F-8B8F-68B040C33C42}"/>
              </a:ext>
            </a:extLst>
          </p:cNvPr>
          <p:cNvSpPr/>
          <p:nvPr/>
        </p:nvSpPr>
        <p:spPr>
          <a:xfrm>
            <a:off x="2250732" y="2227400"/>
            <a:ext cx="6791219" cy="39930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3"/>
          <p:cNvSpPr txBox="1"/>
          <p:nvPr/>
        </p:nvSpPr>
        <p:spPr>
          <a:xfrm>
            <a:off x="420831" y="637567"/>
            <a:ext cx="5675169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000">
                <a:solidFill>
                  <a:srgbClr val="104D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/>
            </a:pPr>
            <a:r>
              <a:rPr lang="en-US" sz="1800" b="1" dirty="0">
                <a:solidFill>
                  <a:srgbClr val="87CBD8"/>
                </a:solidFill>
              </a:rPr>
              <a:t>Global Technical Map of Architecture</a:t>
            </a: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51E0C841-ED3D-2F4C-9A84-F2C04DC16BC0}"/>
              </a:ext>
            </a:extLst>
          </p:cNvPr>
          <p:cNvSpPr txBox="1"/>
          <p:nvPr/>
        </p:nvSpPr>
        <p:spPr>
          <a:xfrm>
            <a:off x="404809" y="237462"/>
            <a:ext cx="5816248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Needs and Solution Proposal (III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CC9F8E-27A6-864E-AC24-9942AEF6EEA2}"/>
              </a:ext>
            </a:extLst>
          </p:cNvPr>
          <p:cNvSpPr/>
          <p:nvPr/>
        </p:nvSpPr>
        <p:spPr>
          <a:xfrm>
            <a:off x="2446908" y="2437921"/>
            <a:ext cx="6421368" cy="2615572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0B55094-CC7D-C442-A9E1-DC5331564453}"/>
              </a:ext>
            </a:extLst>
          </p:cNvPr>
          <p:cNvSpPr/>
          <p:nvPr/>
        </p:nvSpPr>
        <p:spPr>
          <a:xfrm>
            <a:off x="3335662" y="5275320"/>
            <a:ext cx="1704838" cy="805197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Google Shape;61;p12">
            <a:extLst>
              <a:ext uri="{FF2B5EF4-FFF2-40B4-BE49-F238E27FC236}">
                <a16:creationId xmlns:a16="http://schemas.microsoft.com/office/drawing/2014/main" id="{7FB4743F-A4B7-5142-A3AD-CF5391CE8A92}"/>
              </a:ext>
            </a:extLst>
          </p:cNvPr>
          <p:cNvSpPr txBox="1">
            <a:spLocks/>
          </p:cNvSpPr>
          <p:nvPr/>
        </p:nvSpPr>
        <p:spPr>
          <a:xfrm>
            <a:off x="2558265" y="2450006"/>
            <a:ext cx="986318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torag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314DE94-3C87-CB45-A80C-8109FD51DD2E}"/>
              </a:ext>
            </a:extLst>
          </p:cNvPr>
          <p:cNvGrpSpPr/>
          <p:nvPr/>
        </p:nvGrpSpPr>
        <p:grpSpPr>
          <a:xfrm>
            <a:off x="2835529" y="2814055"/>
            <a:ext cx="1266766" cy="387557"/>
            <a:chOff x="6418304" y="1924127"/>
            <a:chExt cx="1266766" cy="387557"/>
          </a:xfrm>
        </p:grpSpPr>
        <p:sp>
          <p:nvSpPr>
            <p:cNvPr id="77" name="Text Box 115">
              <a:extLst>
                <a:ext uri="{FF2B5EF4-FFF2-40B4-BE49-F238E27FC236}">
                  <a16:creationId xmlns:a16="http://schemas.microsoft.com/office/drawing/2014/main" id="{3B376880-C606-FD4E-9708-16157231EF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87" name="Google Shape;61;p12">
              <a:extLst>
                <a:ext uri="{FF2B5EF4-FFF2-40B4-BE49-F238E27FC236}">
                  <a16:creationId xmlns:a16="http://schemas.microsoft.com/office/drawing/2014/main" id="{BB3AD206-CBBA-0342-89FD-7CF7EEEE6556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Impala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D5F8A6E-940A-0C42-8D41-1C149FA28A27}"/>
              </a:ext>
            </a:extLst>
          </p:cNvPr>
          <p:cNvGrpSpPr/>
          <p:nvPr/>
        </p:nvGrpSpPr>
        <p:grpSpPr>
          <a:xfrm>
            <a:off x="5436071" y="3030113"/>
            <a:ext cx="1266766" cy="387557"/>
            <a:chOff x="6418304" y="1924127"/>
            <a:chExt cx="1266766" cy="387557"/>
          </a:xfrm>
        </p:grpSpPr>
        <p:sp>
          <p:nvSpPr>
            <p:cNvPr id="96" name="Text Box 115">
              <a:extLst>
                <a:ext uri="{FF2B5EF4-FFF2-40B4-BE49-F238E27FC236}">
                  <a16:creationId xmlns:a16="http://schemas.microsoft.com/office/drawing/2014/main" id="{252054EC-2427-F642-83B5-722EA0750A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7" name="Google Shape;61;p12">
              <a:extLst>
                <a:ext uri="{FF2B5EF4-FFF2-40B4-BE49-F238E27FC236}">
                  <a16:creationId xmlns:a16="http://schemas.microsoft.com/office/drawing/2014/main" id="{CFC041A3-700F-A54A-AF48-931538877391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Base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9C03EEB8-7529-0F45-B8D8-3E0505B50A53}"/>
              </a:ext>
            </a:extLst>
          </p:cNvPr>
          <p:cNvGrpSpPr/>
          <p:nvPr/>
        </p:nvGrpSpPr>
        <p:grpSpPr>
          <a:xfrm>
            <a:off x="7442867" y="3030112"/>
            <a:ext cx="1266766" cy="387557"/>
            <a:chOff x="6418304" y="1924127"/>
            <a:chExt cx="1266766" cy="387557"/>
          </a:xfrm>
        </p:grpSpPr>
        <p:sp>
          <p:nvSpPr>
            <p:cNvPr id="99" name="Text Box 115">
              <a:extLst>
                <a:ext uri="{FF2B5EF4-FFF2-40B4-BE49-F238E27FC236}">
                  <a16:creationId xmlns:a16="http://schemas.microsoft.com/office/drawing/2014/main" id="{84C22899-BFDF-9A42-B5A9-E10C01E356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00" name="Google Shape;61;p12">
              <a:extLst>
                <a:ext uri="{FF2B5EF4-FFF2-40B4-BE49-F238E27FC236}">
                  <a16:creationId xmlns:a16="http://schemas.microsoft.com/office/drawing/2014/main" id="{98F81174-ADA6-CF4B-A0D9-8449A2A7ACE5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 err="1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Solr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B83B0D5-5F18-D946-8FF6-4A9536935497}"/>
              </a:ext>
            </a:extLst>
          </p:cNvPr>
          <p:cNvGrpSpPr/>
          <p:nvPr/>
        </p:nvGrpSpPr>
        <p:grpSpPr>
          <a:xfrm>
            <a:off x="2835529" y="3339180"/>
            <a:ext cx="1266766" cy="387557"/>
            <a:chOff x="6418304" y="1924127"/>
            <a:chExt cx="1266766" cy="387557"/>
          </a:xfrm>
        </p:grpSpPr>
        <p:sp>
          <p:nvSpPr>
            <p:cNvPr id="124" name="Text Box 115">
              <a:extLst>
                <a:ext uri="{FF2B5EF4-FFF2-40B4-BE49-F238E27FC236}">
                  <a16:creationId xmlns:a16="http://schemas.microsoft.com/office/drawing/2014/main" id="{6565D9DC-CD18-524D-B2DA-E21422B0B3C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25" name="Google Shape;61;p12">
              <a:extLst>
                <a:ext uri="{FF2B5EF4-FFF2-40B4-BE49-F238E27FC236}">
                  <a16:creationId xmlns:a16="http://schemas.microsoft.com/office/drawing/2014/main" id="{BF5B3463-0FC2-8541-8087-76CF0D4E732D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ive</a:t>
              </a:r>
            </a:p>
          </p:txBody>
        </p:sp>
      </p:grp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09522A19-B6D3-A64C-9617-BF52253E5BE8}"/>
              </a:ext>
            </a:extLst>
          </p:cNvPr>
          <p:cNvCxnSpPr>
            <a:endCxn id="77" idx="3"/>
          </p:cNvCxnSpPr>
          <p:nvPr/>
        </p:nvCxnSpPr>
        <p:spPr>
          <a:xfrm rot="10800000">
            <a:off x="4102295" y="3007834"/>
            <a:ext cx="1154390" cy="216056"/>
          </a:xfrm>
          <a:prstGeom prst="bentConnector3">
            <a:avLst>
              <a:gd name="adj1" fmla="val 48220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>
            <a:extLst>
              <a:ext uri="{FF2B5EF4-FFF2-40B4-BE49-F238E27FC236}">
                <a16:creationId xmlns:a16="http://schemas.microsoft.com/office/drawing/2014/main" id="{C8824B78-C0E8-084E-B678-36D594339AB4}"/>
              </a:ext>
            </a:extLst>
          </p:cNvPr>
          <p:cNvCxnSpPr>
            <a:cxnSpLocks/>
            <a:stCxn id="96" idx="1"/>
            <a:endCxn id="124" idx="3"/>
          </p:cNvCxnSpPr>
          <p:nvPr/>
        </p:nvCxnSpPr>
        <p:spPr>
          <a:xfrm rot="10800000" flipV="1">
            <a:off x="4102295" y="3223891"/>
            <a:ext cx="1333776" cy="309067"/>
          </a:xfrm>
          <a:prstGeom prst="bentConnector3">
            <a:avLst>
              <a:gd name="adj1" fmla="val 54799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Elbow Connector 127">
            <a:extLst>
              <a:ext uri="{FF2B5EF4-FFF2-40B4-BE49-F238E27FC236}">
                <a16:creationId xmlns:a16="http://schemas.microsoft.com/office/drawing/2014/main" id="{90D11C4A-3291-994A-92AA-C3F27FE47CDC}"/>
              </a:ext>
            </a:extLst>
          </p:cNvPr>
          <p:cNvCxnSpPr>
            <a:cxnSpLocks/>
            <a:stCxn id="96" idx="3"/>
            <a:endCxn id="99" idx="1"/>
          </p:cNvCxnSpPr>
          <p:nvPr/>
        </p:nvCxnSpPr>
        <p:spPr>
          <a:xfrm flipV="1">
            <a:off x="6702837" y="3223891"/>
            <a:ext cx="740030" cy="1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Google Shape;61;p12">
            <a:extLst>
              <a:ext uri="{FF2B5EF4-FFF2-40B4-BE49-F238E27FC236}">
                <a16:creationId xmlns:a16="http://schemas.microsoft.com/office/drawing/2014/main" id="{1E8294C9-7055-8043-BB99-394CFF1AF10E}"/>
              </a:ext>
            </a:extLst>
          </p:cNvPr>
          <p:cNvSpPr txBox="1">
            <a:spLocks/>
          </p:cNvSpPr>
          <p:nvPr/>
        </p:nvSpPr>
        <p:spPr>
          <a:xfrm>
            <a:off x="6457735" y="2747412"/>
            <a:ext cx="985132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MapReduce index</a:t>
            </a:r>
          </a:p>
        </p:txBody>
      </p:sp>
      <p:sp>
        <p:nvSpPr>
          <p:cNvPr id="130" name="Google Shape;61;p12">
            <a:extLst>
              <a:ext uri="{FF2B5EF4-FFF2-40B4-BE49-F238E27FC236}">
                <a16:creationId xmlns:a16="http://schemas.microsoft.com/office/drawing/2014/main" id="{5D20FC41-1AE1-2E4D-AE36-72ACBEA41C3B}"/>
              </a:ext>
            </a:extLst>
          </p:cNvPr>
          <p:cNvSpPr txBox="1">
            <a:spLocks/>
          </p:cNvSpPr>
          <p:nvPr/>
        </p:nvSpPr>
        <p:spPr>
          <a:xfrm>
            <a:off x="4565825" y="2775824"/>
            <a:ext cx="896977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MapReduce job</a:t>
            </a: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AAD12A1A-C2EB-A94C-A67F-AE6FB2D373D9}"/>
              </a:ext>
            </a:extLst>
          </p:cNvPr>
          <p:cNvGrpSpPr/>
          <p:nvPr/>
        </p:nvGrpSpPr>
        <p:grpSpPr>
          <a:xfrm>
            <a:off x="5400992" y="4081298"/>
            <a:ext cx="1838119" cy="819296"/>
            <a:chOff x="6418303" y="1900580"/>
            <a:chExt cx="624667" cy="411105"/>
          </a:xfrm>
        </p:grpSpPr>
        <p:sp>
          <p:nvSpPr>
            <p:cNvPr id="136" name="Text Box 115">
              <a:extLst>
                <a:ext uri="{FF2B5EF4-FFF2-40B4-BE49-F238E27FC236}">
                  <a16:creationId xmlns:a16="http://schemas.microsoft.com/office/drawing/2014/main" id="{AE016357-FE93-6249-9DA0-4C9072801C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3" y="1924128"/>
              <a:ext cx="624667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37" name="Google Shape;61;p12">
              <a:extLst>
                <a:ext uri="{FF2B5EF4-FFF2-40B4-BE49-F238E27FC236}">
                  <a16:creationId xmlns:a16="http://schemas.microsoft.com/office/drawing/2014/main" id="{4AAFCE48-69A4-FF44-B4C3-E46780BA67CF}"/>
                </a:ext>
              </a:extLst>
            </p:cNvPr>
            <p:cNvSpPr txBox="1">
              <a:spLocks/>
            </p:cNvSpPr>
            <p:nvPr/>
          </p:nvSpPr>
          <p:spPr>
            <a:xfrm>
              <a:off x="6418303" y="1900580"/>
              <a:ext cx="202286" cy="199604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DFS</a:t>
              </a:r>
            </a:p>
          </p:txBody>
        </p:sp>
      </p:grpSp>
      <p:sp>
        <p:nvSpPr>
          <p:cNvPr id="138" name="Text Box 114">
            <a:extLst>
              <a:ext uri="{FF2B5EF4-FFF2-40B4-BE49-F238E27FC236}">
                <a16:creationId xmlns:a16="http://schemas.microsoft.com/office/drawing/2014/main" id="{60BDCC5D-B615-9A43-BC59-18DB4E2D0F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54126" y="4370766"/>
            <a:ext cx="660941" cy="424072"/>
          </a:xfrm>
          <a:prstGeom prst="rect">
            <a:avLst/>
          </a:prstGeom>
          <a:solidFill>
            <a:srgbClr val="87CBD8"/>
          </a:solidFill>
          <a:ln w="12700">
            <a:solidFill>
              <a:srgbClr val="0067B7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defPPr>
              <a:defRPr lang="es-ES"/>
            </a:defPPr>
            <a:lvl1pPr algn="ctr" defTabSz="449263" eaLnBrk="0" hangingPunct="0">
              <a:buSzPct val="13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600" b="1">
                <a:solidFill>
                  <a:schemeClr val="bg1"/>
                </a:solidFill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9pPr>
          </a:lstStyle>
          <a:p>
            <a: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/>
            </a:pPr>
            <a:r>
              <a:rPr lang="en-GB" altLang="pt-BR" sz="1050" b="0" dirty="0">
                <a:solidFill>
                  <a:srgbClr val="0067B7"/>
                </a:solidFill>
                <a:latin typeface="Comic Sans MS" panose="030F0902030302020204" pitchFamily="66" charset="0"/>
              </a:rPr>
              <a:t>Row</a:t>
            </a:r>
          </a:p>
        </p:txBody>
      </p:sp>
      <p:sp>
        <p:nvSpPr>
          <p:cNvPr id="141" name="Text Box 115">
            <a:extLst>
              <a:ext uri="{FF2B5EF4-FFF2-40B4-BE49-F238E27FC236}">
                <a16:creationId xmlns:a16="http://schemas.microsoft.com/office/drawing/2014/main" id="{6D6828B0-551A-A647-A093-0EF6C0D989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2237" y="5446462"/>
            <a:ext cx="1301839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Batch Event </a:t>
            </a:r>
          </a:p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Processing Engine</a:t>
            </a:r>
          </a:p>
        </p:txBody>
      </p:sp>
      <p:cxnSp>
        <p:nvCxnSpPr>
          <p:cNvPr id="143" name="Elbow Connector 142">
            <a:extLst>
              <a:ext uri="{FF2B5EF4-FFF2-40B4-BE49-F238E27FC236}">
                <a16:creationId xmlns:a16="http://schemas.microsoft.com/office/drawing/2014/main" id="{6EDBB9A1-2346-7649-B5C9-1D73CB25230C}"/>
              </a:ext>
            </a:extLst>
          </p:cNvPr>
          <p:cNvCxnSpPr>
            <a:cxnSpLocks/>
            <a:stCxn id="138" idx="2"/>
            <a:endCxn id="141" idx="0"/>
          </p:cNvCxnSpPr>
          <p:nvPr/>
        </p:nvCxnSpPr>
        <p:spPr>
          <a:xfrm rot="5400000">
            <a:off x="4713065" y="4274930"/>
            <a:ext cx="651624" cy="1691440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5818FF4-27A8-8E48-8D30-A88EDFE1BDC3}"/>
              </a:ext>
            </a:extLst>
          </p:cNvPr>
          <p:cNvSpPr/>
          <p:nvPr/>
        </p:nvSpPr>
        <p:spPr>
          <a:xfrm>
            <a:off x="9377707" y="3769636"/>
            <a:ext cx="1578734" cy="86352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6" name="Text Box 115">
            <a:extLst>
              <a:ext uri="{FF2B5EF4-FFF2-40B4-BE49-F238E27FC236}">
                <a16:creationId xmlns:a16="http://schemas.microsoft.com/office/drawing/2014/main" id="{D25FE3A4-0E5B-F04C-A243-D5F137BA6F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4360" y="3940778"/>
            <a:ext cx="1301839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Event Hub</a:t>
            </a:r>
          </a:p>
        </p:txBody>
      </p:sp>
      <p:cxnSp>
        <p:nvCxnSpPr>
          <p:cNvPr id="159" name="Elbow Connector 158">
            <a:extLst>
              <a:ext uri="{FF2B5EF4-FFF2-40B4-BE49-F238E27FC236}">
                <a16:creationId xmlns:a16="http://schemas.microsoft.com/office/drawing/2014/main" id="{050F97A9-14F0-F04F-93D6-A0421B741B3A}"/>
              </a:ext>
            </a:extLst>
          </p:cNvPr>
          <p:cNvCxnSpPr>
            <a:cxnSpLocks/>
            <a:stCxn id="156" idx="1"/>
            <a:endCxn id="136" idx="3"/>
          </p:cNvCxnSpPr>
          <p:nvPr/>
        </p:nvCxnSpPr>
        <p:spPr>
          <a:xfrm rot="10800000" flipV="1">
            <a:off x="7239112" y="4188649"/>
            <a:ext cx="2275249" cy="325761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D4D6B444-77F7-6049-A76C-EC8F4B9EE614}"/>
              </a:ext>
            </a:extLst>
          </p:cNvPr>
          <p:cNvGrpSpPr/>
          <p:nvPr/>
        </p:nvGrpSpPr>
        <p:grpSpPr>
          <a:xfrm rot="19530673">
            <a:off x="5099412" y="5230049"/>
            <a:ext cx="301686" cy="265870"/>
            <a:chOff x="720866" y="1199338"/>
            <a:chExt cx="301686" cy="265870"/>
          </a:xfrm>
        </p:grpSpPr>
        <p:sp>
          <p:nvSpPr>
            <p:cNvPr id="167" name="Google Shape;431;p39">
              <a:extLst>
                <a:ext uri="{FF2B5EF4-FFF2-40B4-BE49-F238E27FC236}">
                  <a16:creationId xmlns:a16="http://schemas.microsoft.com/office/drawing/2014/main" id="{605610EC-95ED-FA47-8C22-356E642A6F5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92A1BCB1-3AEE-2645-900C-DC625EED2CCC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2</a:t>
              </a: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982F90DE-8B0A-C048-9B55-481BFBE1560E}"/>
              </a:ext>
            </a:extLst>
          </p:cNvPr>
          <p:cNvGrpSpPr/>
          <p:nvPr/>
        </p:nvGrpSpPr>
        <p:grpSpPr>
          <a:xfrm rot="19530673">
            <a:off x="4390932" y="3218871"/>
            <a:ext cx="301686" cy="265870"/>
            <a:chOff x="720866" y="1199338"/>
            <a:chExt cx="301686" cy="265870"/>
          </a:xfrm>
        </p:grpSpPr>
        <p:sp>
          <p:nvSpPr>
            <p:cNvPr id="170" name="Google Shape;431;p39">
              <a:extLst>
                <a:ext uri="{FF2B5EF4-FFF2-40B4-BE49-F238E27FC236}">
                  <a16:creationId xmlns:a16="http://schemas.microsoft.com/office/drawing/2014/main" id="{F8FADFF7-993A-6648-ABFB-7AB058C0754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32F430DF-58DB-7F49-A6F7-C8CD27B06AA0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4</a:t>
              </a: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6E25734F-0411-8443-AC4A-D1F4EBE65F1B}"/>
              </a:ext>
            </a:extLst>
          </p:cNvPr>
          <p:cNvGrpSpPr/>
          <p:nvPr/>
        </p:nvGrpSpPr>
        <p:grpSpPr>
          <a:xfrm rot="19530673">
            <a:off x="3817544" y="4580580"/>
            <a:ext cx="301686" cy="265870"/>
            <a:chOff x="720866" y="1199338"/>
            <a:chExt cx="301686" cy="265870"/>
          </a:xfrm>
        </p:grpSpPr>
        <p:sp>
          <p:nvSpPr>
            <p:cNvPr id="191" name="Google Shape;431;p39">
              <a:extLst>
                <a:ext uri="{FF2B5EF4-FFF2-40B4-BE49-F238E27FC236}">
                  <a16:creationId xmlns:a16="http://schemas.microsoft.com/office/drawing/2014/main" id="{0CDD4076-FB82-5947-9CB7-B81E559CE51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39913E79-2D3D-0146-BE96-17D569C19A7F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3</a:t>
              </a:r>
            </a:p>
          </p:txBody>
        </p:sp>
      </p:grp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7880FCD-F45B-6647-8D10-BD8E03D027B0}"/>
              </a:ext>
            </a:extLst>
          </p:cNvPr>
          <p:cNvSpPr/>
          <p:nvPr/>
        </p:nvSpPr>
        <p:spPr>
          <a:xfrm>
            <a:off x="7391221" y="2977012"/>
            <a:ext cx="1379741" cy="482582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Google Shape;61;p12">
            <a:extLst>
              <a:ext uri="{FF2B5EF4-FFF2-40B4-BE49-F238E27FC236}">
                <a16:creationId xmlns:a16="http://schemas.microsoft.com/office/drawing/2014/main" id="{8201BBEE-1ABF-2940-90BA-C2268E53EC67}"/>
              </a:ext>
            </a:extLst>
          </p:cNvPr>
          <p:cNvSpPr txBox="1">
            <a:spLocks/>
          </p:cNvSpPr>
          <p:nvPr/>
        </p:nvSpPr>
        <p:spPr>
          <a:xfrm>
            <a:off x="9213733" y="3726737"/>
            <a:ext cx="839351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ource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17E7B101-BC89-9948-A1F5-7B47986511B3}"/>
              </a:ext>
            </a:extLst>
          </p:cNvPr>
          <p:cNvSpPr/>
          <p:nvPr/>
        </p:nvSpPr>
        <p:spPr>
          <a:xfrm>
            <a:off x="1479069" y="1143814"/>
            <a:ext cx="2010893" cy="882058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9" name="Text Box 115">
            <a:extLst>
              <a:ext uri="{FF2B5EF4-FFF2-40B4-BE49-F238E27FC236}">
                <a16:creationId xmlns:a16="http://schemas.microsoft.com/office/drawing/2014/main" id="{73FEB6F4-1985-2446-B6DD-E5E34A16C3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8079" y="1386874"/>
            <a:ext cx="1722134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0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Data Visualization Tools</a:t>
            </a:r>
          </a:p>
        </p:txBody>
      </p:sp>
      <p:sp>
        <p:nvSpPr>
          <p:cNvPr id="200" name="Google Shape;61;p12">
            <a:extLst>
              <a:ext uri="{FF2B5EF4-FFF2-40B4-BE49-F238E27FC236}">
                <a16:creationId xmlns:a16="http://schemas.microsoft.com/office/drawing/2014/main" id="{302009A1-C454-6847-89A5-CBA0DD6D7B95}"/>
              </a:ext>
            </a:extLst>
          </p:cNvPr>
          <p:cNvSpPr txBox="1">
            <a:spLocks/>
          </p:cNvSpPr>
          <p:nvPr/>
        </p:nvSpPr>
        <p:spPr>
          <a:xfrm>
            <a:off x="1459275" y="1121514"/>
            <a:ext cx="1158362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erving layer</a:t>
            </a:r>
          </a:p>
        </p:txBody>
      </p:sp>
      <p:cxnSp>
        <p:nvCxnSpPr>
          <p:cNvPr id="211" name="Elbow Connector 210">
            <a:extLst>
              <a:ext uri="{FF2B5EF4-FFF2-40B4-BE49-F238E27FC236}">
                <a16:creationId xmlns:a16="http://schemas.microsoft.com/office/drawing/2014/main" id="{946E7CE7-EE6D-7648-92F0-98C706456EE9}"/>
              </a:ext>
            </a:extLst>
          </p:cNvPr>
          <p:cNvCxnSpPr>
            <a:cxnSpLocks/>
            <a:stCxn id="124" idx="1"/>
            <a:endCxn id="199" idx="2"/>
          </p:cNvCxnSpPr>
          <p:nvPr/>
        </p:nvCxnSpPr>
        <p:spPr>
          <a:xfrm rot="10800000">
            <a:off x="2479147" y="1882619"/>
            <a:ext cx="356383" cy="1650341"/>
          </a:xfrm>
          <a:prstGeom prst="bentConnector2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Elbow Connector 214">
            <a:extLst>
              <a:ext uri="{FF2B5EF4-FFF2-40B4-BE49-F238E27FC236}">
                <a16:creationId xmlns:a16="http://schemas.microsoft.com/office/drawing/2014/main" id="{5E46A883-8DE3-F449-99F8-3AD0715C5C81}"/>
              </a:ext>
            </a:extLst>
          </p:cNvPr>
          <p:cNvCxnSpPr>
            <a:cxnSpLocks/>
            <a:endCxn id="199" idx="2"/>
          </p:cNvCxnSpPr>
          <p:nvPr/>
        </p:nvCxnSpPr>
        <p:spPr>
          <a:xfrm rot="10800000">
            <a:off x="2479146" y="1882618"/>
            <a:ext cx="287992" cy="1129126"/>
          </a:xfrm>
          <a:prstGeom prst="bentConnector2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2F5EB25-D492-E949-BAD9-2E84BA4C0BF4}"/>
              </a:ext>
            </a:extLst>
          </p:cNvPr>
          <p:cNvGrpSpPr/>
          <p:nvPr/>
        </p:nvGrpSpPr>
        <p:grpSpPr>
          <a:xfrm>
            <a:off x="10089781" y="324263"/>
            <a:ext cx="1569747" cy="398276"/>
            <a:chOff x="10089781" y="324263"/>
            <a:chExt cx="1569747" cy="398276"/>
          </a:xfrm>
        </p:grpSpPr>
        <p:sp>
          <p:nvSpPr>
            <p:cNvPr id="7" name="Text Box 115">
              <a:extLst>
                <a:ext uri="{FF2B5EF4-FFF2-40B4-BE49-F238E27FC236}">
                  <a16:creationId xmlns:a16="http://schemas.microsoft.com/office/drawing/2014/main" id="{E0222F90-406D-184C-A846-B36F0C79D7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6708" y="395611"/>
              <a:ext cx="501650" cy="88900"/>
            </a:xfrm>
            <a:prstGeom prst="rect">
              <a:avLst/>
            </a:prstGeom>
            <a:solidFill>
              <a:srgbClr val="C5277F">
                <a:alpha val="50000"/>
              </a:srgbClr>
            </a:solidFill>
            <a:ln w="12700">
              <a:solidFill>
                <a:srgbClr val="7C1A4D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" name="Text Box 118">
              <a:extLst>
                <a:ext uri="{FF2B5EF4-FFF2-40B4-BE49-F238E27FC236}">
                  <a16:creationId xmlns:a16="http://schemas.microsoft.com/office/drawing/2014/main" id="{B27AC165-25C0-3844-BF5B-7DEACEDE86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737481" y="324263"/>
              <a:ext cx="922047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None/>
                <a:defRPr sz="900" b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pt-BR" dirty="0" err="1"/>
                <a:t>Second</a:t>
              </a:r>
              <a:r>
                <a:rPr lang="es-ES" altLang="pt-BR" dirty="0"/>
                <a:t> </a:t>
              </a:r>
              <a:r>
                <a:rPr lang="es-ES" altLang="pt-BR" dirty="0" err="1"/>
                <a:t>stage</a:t>
              </a:r>
              <a:r>
                <a:rPr lang="es-ES" altLang="pt-BR" dirty="0"/>
                <a:t> </a:t>
              </a:r>
            </a:p>
          </p:txBody>
        </p:sp>
        <p:sp>
          <p:nvSpPr>
            <p:cNvPr id="10" name="Rectangle 119">
              <a:extLst>
                <a:ext uri="{FF2B5EF4-FFF2-40B4-BE49-F238E27FC236}">
                  <a16:creationId xmlns:a16="http://schemas.microsoft.com/office/drawing/2014/main" id="{7F20A950-BA5D-E742-9E7D-45DB7EED0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9781" y="324263"/>
              <a:ext cx="1569747" cy="39827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accent2"/>
                </a:buClr>
                <a:buFont typeface="Wingdings" pitchFamily="2" charset="2"/>
                <a:buNone/>
              </a:pPr>
              <a:endParaRPr lang="pt-BR" altLang="pt-BR" b="0">
                <a:solidFill>
                  <a:schemeClr val="tx1"/>
                </a:solidFill>
              </a:endParaRPr>
            </a:p>
          </p:txBody>
        </p:sp>
        <p:sp>
          <p:nvSpPr>
            <p:cNvPr id="61" name="Text Box 115">
              <a:extLst>
                <a:ext uri="{FF2B5EF4-FFF2-40B4-BE49-F238E27FC236}">
                  <a16:creationId xmlns:a16="http://schemas.microsoft.com/office/drawing/2014/main" id="{E74167D8-B6BA-2C4E-9822-B5DB704AE0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9435" y="562672"/>
              <a:ext cx="509197" cy="88901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100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endParaRPr>
            </a:p>
          </p:txBody>
        </p:sp>
        <p:sp>
          <p:nvSpPr>
            <p:cNvPr id="62" name="Text Box 118">
              <a:extLst>
                <a:ext uri="{FF2B5EF4-FFF2-40B4-BE49-F238E27FC236}">
                  <a16:creationId xmlns:a16="http://schemas.microsoft.com/office/drawing/2014/main" id="{CEAE94F0-D301-3341-9ECF-6D65B33680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742330" y="491706"/>
              <a:ext cx="755335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accent2"/>
                </a:buClr>
                <a:buNone/>
              </a:pPr>
              <a:r>
                <a:rPr lang="en-US" sz="900" b="0" dirty="0">
                  <a:solidFill>
                    <a:schemeClr val="tx1"/>
                  </a:solidFill>
                  <a:cs typeface="Arial" panose="020B0604020202020204" pitchFamily="34" charset="0"/>
                </a:rPr>
                <a:t>First phase</a:t>
              </a:r>
              <a:endParaRPr lang="es-ES" altLang="pt-BR" sz="900" b="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4" name="Google Shape;61;p12">
            <a:extLst>
              <a:ext uri="{FF2B5EF4-FFF2-40B4-BE49-F238E27FC236}">
                <a16:creationId xmlns:a16="http://schemas.microsoft.com/office/drawing/2014/main" id="{A0ABAB34-D503-3F4A-BB0D-42C2ABB729B3}"/>
              </a:ext>
            </a:extLst>
          </p:cNvPr>
          <p:cNvSpPr txBox="1">
            <a:spLocks/>
          </p:cNvSpPr>
          <p:nvPr/>
        </p:nvSpPr>
        <p:spPr>
          <a:xfrm>
            <a:off x="7422399" y="4581839"/>
            <a:ext cx="1510368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The ingest phase includes acquiring the Json files, landing them in HDFS.</a:t>
            </a:r>
          </a:p>
        </p:txBody>
      </p:sp>
      <p:sp>
        <p:nvSpPr>
          <p:cNvPr id="67" name="Google Shape;61;p12">
            <a:extLst>
              <a:ext uri="{FF2B5EF4-FFF2-40B4-BE49-F238E27FC236}">
                <a16:creationId xmlns:a16="http://schemas.microsoft.com/office/drawing/2014/main" id="{4FA54DEF-E59C-D34B-B07C-AFB16249E2EE}"/>
              </a:ext>
            </a:extLst>
          </p:cNvPr>
          <p:cNvSpPr txBox="1">
            <a:spLocks/>
          </p:cNvSpPr>
          <p:nvPr/>
        </p:nvSpPr>
        <p:spPr>
          <a:xfrm>
            <a:off x="6758393" y="1254858"/>
            <a:ext cx="2109883" cy="8820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The HBase Indexer provides the ability to stream events from HBase to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Solr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for near real time searching, however,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PoC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is 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</a:rPr>
              <a:t>required.</a:t>
            </a:r>
            <a:endParaRPr lang="en-US" sz="900" dirty="0">
              <a:solidFill>
                <a:srgbClr val="C5277F">
                  <a:alpha val="30000"/>
                </a:srgbClr>
              </a:solidFill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  <a:reflection endPos="0" dist="50800" dir="5400000" sy="-100000" algn="bl" rotWithShape="0"/>
              </a:effectLst>
              <a:latin typeface="Comic Sans MS" panose="030F0902030302020204" pitchFamily="66" charset="0"/>
              <a:ea typeface="Nanum Pen Script" panose="03040600000000000000" pitchFamily="66" charset="-127"/>
              <a:cs typeface="Arial" panose="020B0604020202020204" pitchFamily="34" charset="0"/>
            </a:endParaRPr>
          </a:p>
        </p:txBody>
      </p:sp>
      <p:sp>
        <p:nvSpPr>
          <p:cNvPr id="69" name="Google Shape;61;p12">
            <a:extLst>
              <a:ext uri="{FF2B5EF4-FFF2-40B4-BE49-F238E27FC236}">
                <a16:creationId xmlns:a16="http://schemas.microsoft.com/office/drawing/2014/main" id="{90C1476B-5CCA-4C4C-804D-EC8CDDDE5903}"/>
              </a:ext>
            </a:extLst>
          </p:cNvPr>
          <p:cNvSpPr txBox="1">
            <a:spLocks/>
          </p:cNvSpPr>
          <p:nvPr/>
        </p:nvSpPr>
        <p:spPr>
          <a:xfrm>
            <a:off x="3647124" y="1264622"/>
            <a:ext cx="2672929" cy="8820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You can use Impala to query HBase tables. This capability allows convenient access to a storage system that is tuned for different kinds of workloads than the default with. Impala, however,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PoC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is 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</a:rPr>
              <a:t>required.</a:t>
            </a:r>
            <a:endParaRPr lang="en-US" sz="900" dirty="0">
              <a:solidFill>
                <a:srgbClr val="C5277F">
                  <a:alpha val="30000"/>
                </a:srgbClr>
              </a:solidFill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  <a:reflection endPos="0" dist="50800" dir="5400000" sy="-100000" algn="bl" rotWithShape="0"/>
              </a:effectLst>
              <a:latin typeface="Comic Sans MS" panose="030F0902030302020204" pitchFamily="66" charset="0"/>
              <a:ea typeface="Nanum Pen Script" panose="03040600000000000000" pitchFamily="66" charset="-127"/>
              <a:cs typeface="Arial" panose="020B0604020202020204" pitchFamily="34" charset="0"/>
            </a:endParaRPr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D6D4B221-E4A8-FD45-9BCC-ECF7DC12A9E3}"/>
              </a:ext>
            </a:extLst>
          </p:cNvPr>
          <p:cNvCxnSpPr>
            <a:cxnSpLocks/>
            <a:stCxn id="69" idx="2"/>
          </p:cNvCxnSpPr>
          <p:nvPr/>
        </p:nvCxnSpPr>
        <p:spPr>
          <a:xfrm rot="5400000">
            <a:off x="3927654" y="1691477"/>
            <a:ext cx="600732" cy="1511139"/>
          </a:xfrm>
          <a:prstGeom prst="bentConnector3">
            <a:avLst>
              <a:gd name="adj1" fmla="val 50000"/>
            </a:avLst>
          </a:prstGeom>
          <a:ln>
            <a:solidFill>
              <a:srgbClr val="C5277F">
                <a:alpha val="42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83">
            <a:extLst>
              <a:ext uri="{FF2B5EF4-FFF2-40B4-BE49-F238E27FC236}">
                <a16:creationId xmlns:a16="http://schemas.microsoft.com/office/drawing/2014/main" id="{CBEEE766-8440-7045-84AF-F96D9706840E}"/>
              </a:ext>
            </a:extLst>
          </p:cNvPr>
          <p:cNvCxnSpPr>
            <a:cxnSpLocks/>
            <a:stCxn id="67" idx="2"/>
            <a:endCxn id="193" idx="0"/>
          </p:cNvCxnSpPr>
          <p:nvPr/>
        </p:nvCxnSpPr>
        <p:spPr>
          <a:xfrm rot="16200000" flipH="1">
            <a:off x="7527165" y="2423085"/>
            <a:ext cx="840096" cy="267757"/>
          </a:xfrm>
          <a:prstGeom prst="bentConnector3">
            <a:avLst>
              <a:gd name="adj1" fmla="val 50000"/>
            </a:avLst>
          </a:prstGeom>
          <a:ln>
            <a:solidFill>
              <a:srgbClr val="C5277F">
                <a:alpha val="42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lbow Connector 91">
            <a:extLst>
              <a:ext uri="{FF2B5EF4-FFF2-40B4-BE49-F238E27FC236}">
                <a16:creationId xmlns:a16="http://schemas.microsoft.com/office/drawing/2014/main" id="{84CEAAD5-8A8A-A447-BDFA-A19B0479D3ED}"/>
              </a:ext>
            </a:extLst>
          </p:cNvPr>
          <p:cNvCxnSpPr>
            <a:cxnSpLocks/>
            <a:stCxn id="96" idx="2"/>
            <a:endCxn id="141" idx="0"/>
          </p:cNvCxnSpPr>
          <p:nvPr/>
        </p:nvCxnSpPr>
        <p:spPr>
          <a:xfrm rot="5400000">
            <a:off x="4116910" y="3493918"/>
            <a:ext cx="2028792" cy="1876297"/>
          </a:xfrm>
          <a:prstGeom prst="bentConnector3">
            <a:avLst>
              <a:gd name="adj1" fmla="val 17549"/>
            </a:avLst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7BB1352A-AC02-444F-A941-53F055112848}"/>
              </a:ext>
            </a:extLst>
          </p:cNvPr>
          <p:cNvGrpSpPr/>
          <p:nvPr/>
        </p:nvGrpSpPr>
        <p:grpSpPr>
          <a:xfrm rot="19530673">
            <a:off x="7272762" y="4618780"/>
            <a:ext cx="301686" cy="265870"/>
            <a:chOff x="720866" y="1199338"/>
            <a:chExt cx="301686" cy="265870"/>
          </a:xfrm>
        </p:grpSpPr>
        <p:sp>
          <p:nvSpPr>
            <p:cNvPr id="102" name="Google Shape;431;p39">
              <a:extLst>
                <a:ext uri="{FF2B5EF4-FFF2-40B4-BE49-F238E27FC236}">
                  <a16:creationId xmlns:a16="http://schemas.microsoft.com/office/drawing/2014/main" id="{1D103DD0-884C-E048-8F3B-A41CE3BD1283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E4A7A1F0-FD7D-FE47-AC02-40D2761A4D46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1</a:t>
              </a:r>
            </a:p>
          </p:txBody>
        </p:sp>
      </p:grpSp>
      <p:sp>
        <p:nvSpPr>
          <p:cNvPr id="104" name="Google Shape;61;p12">
            <a:extLst>
              <a:ext uri="{FF2B5EF4-FFF2-40B4-BE49-F238E27FC236}">
                <a16:creationId xmlns:a16="http://schemas.microsoft.com/office/drawing/2014/main" id="{E78FC96D-6A73-2843-8AAF-1249D23862B1}"/>
              </a:ext>
            </a:extLst>
          </p:cNvPr>
          <p:cNvSpPr txBox="1">
            <a:spLocks/>
          </p:cNvSpPr>
          <p:nvPr/>
        </p:nvSpPr>
        <p:spPr>
          <a:xfrm>
            <a:off x="5325126" y="5285573"/>
            <a:ext cx="1704839" cy="635137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A series of transformations are performed to join the relevant data sets. Most of these unions are made based on a primary key in the data</a:t>
            </a:r>
          </a:p>
        </p:txBody>
      </p:sp>
      <p:sp>
        <p:nvSpPr>
          <p:cNvPr id="108" name="Google Shape;61;p12">
            <a:extLst>
              <a:ext uri="{FF2B5EF4-FFF2-40B4-BE49-F238E27FC236}">
                <a16:creationId xmlns:a16="http://schemas.microsoft.com/office/drawing/2014/main" id="{0657AE43-BE35-B94C-8DF6-5D2A86419D12}"/>
              </a:ext>
            </a:extLst>
          </p:cNvPr>
          <p:cNvSpPr txBox="1">
            <a:spLocks/>
          </p:cNvSpPr>
          <p:nvPr/>
        </p:nvSpPr>
        <p:spPr>
          <a:xfrm>
            <a:off x="2339904" y="4727416"/>
            <a:ext cx="2010893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Data is load into deferens engine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7E67A07-BF6D-0F4F-BBC6-00C1C979087E}"/>
              </a:ext>
            </a:extLst>
          </p:cNvPr>
          <p:cNvGrpSpPr/>
          <p:nvPr/>
        </p:nvGrpSpPr>
        <p:grpSpPr>
          <a:xfrm rot="19530673">
            <a:off x="1889534" y="2138372"/>
            <a:ext cx="301686" cy="265870"/>
            <a:chOff x="720866" y="1199338"/>
            <a:chExt cx="301686" cy="265870"/>
          </a:xfrm>
        </p:grpSpPr>
        <p:sp>
          <p:nvSpPr>
            <p:cNvPr id="110" name="Google Shape;431;p39">
              <a:extLst>
                <a:ext uri="{FF2B5EF4-FFF2-40B4-BE49-F238E27FC236}">
                  <a16:creationId xmlns:a16="http://schemas.microsoft.com/office/drawing/2014/main" id="{163D12B5-C0AD-0148-AF95-EB8FE1814F6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A6ED36F0-844C-6545-A544-8D02FEFA3349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5</a:t>
              </a:r>
            </a:p>
          </p:txBody>
        </p:sp>
      </p:grpSp>
      <p:sp>
        <p:nvSpPr>
          <p:cNvPr id="112" name="Google Shape;61;p12">
            <a:extLst>
              <a:ext uri="{FF2B5EF4-FFF2-40B4-BE49-F238E27FC236}">
                <a16:creationId xmlns:a16="http://schemas.microsoft.com/office/drawing/2014/main" id="{E8DB85AC-00F3-AD42-83FD-B5D212A0989F}"/>
              </a:ext>
            </a:extLst>
          </p:cNvPr>
          <p:cNvSpPr txBox="1">
            <a:spLocks/>
          </p:cNvSpPr>
          <p:nvPr/>
        </p:nvSpPr>
        <p:spPr>
          <a:xfrm>
            <a:off x="2417519" y="3912008"/>
            <a:ext cx="1748282" cy="65607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After the data is loaded into the HBase tables, they are propagated to two other service engines. The first service engine is Hive, the second is Impala and the second </a:t>
            </a:r>
            <a:r>
              <a:rPr lang="en-US" sz="800" dirty="0" err="1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olr</a:t>
            </a: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 in a second stage.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6529818-486E-E247-9F73-8DFD3AFB8FFE}"/>
              </a:ext>
            </a:extLst>
          </p:cNvPr>
          <p:cNvSpPr/>
          <p:nvPr/>
        </p:nvSpPr>
        <p:spPr>
          <a:xfrm>
            <a:off x="2767138" y="2747412"/>
            <a:ext cx="1410624" cy="528664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3" name="Elbow Connector 72">
            <a:extLst>
              <a:ext uri="{FF2B5EF4-FFF2-40B4-BE49-F238E27FC236}">
                <a16:creationId xmlns:a16="http://schemas.microsoft.com/office/drawing/2014/main" id="{52BD7DB0-8CC7-2F45-9648-9E793D4CA238}"/>
              </a:ext>
            </a:extLst>
          </p:cNvPr>
          <p:cNvCxnSpPr>
            <a:cxnSpLocks/>
            <a:stCxn id="136" idx="0"/>
            <a:endCxn id="96" idx="2"/>
          </p:cNvCxnSpPr>
          <p:nvPr/>
        </p:nvCxnSpPr>
        <p:spPr>
          <a:xfrm rot="16200000" flipV="1">
            <a:off x="5839475" y="3647650"/>
            <a:ext cx="710557" cy="250598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 Box 114">
            <a:extLst>
              <a:ext uri="{FF2B5EF4-FFF2-40B4-BE49-F238E27FC236}">
                <a16:creationId xmlns:a16="http://schemas.microsoft.com/office/drawing/2014/main" id="{5B0C6ABA-7C17-2842-BA0F-23DAADA1AF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25513" y="4370766"/>
            <a:ext cx="759537" cy="409348"/>
          </a:xfrm>
          <a:prstGeom prst="rect">
            <a:avLst/>
          </a:prstGeom>
          <a:solidFill>
            <a:srgbClr val="87CBD8"/>
          </a:solidFill>
          <a:ln w="12700">
            <a:solidFill>
              <a:srgbClr val="0067B7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defPPr>
              <a:defRPr lang="es-ES"/>
            </a:defPPr>
            <a:lvl1pPr algn="ctr" defTabSz="449263" eaLnBrk="0" hangingPunct="0">
              <a:buSzPct val="13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600" b="1">
                <a:solidFill>
                  <a:schemeClr val="bg1"/>
                </a:solidFill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9pPr>
          </a:lstStyle>
          <a:p>
            <a: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/>
            </a:pPr>
            <a:r>
              <a:rPr lang="en-GB" altLang="pt-BR" sz="1050" b="0" dirty="0">
                <a:solidFill>
                  <a:srgbClr val="0067B7"/>
                </a:solidFill>
                <a:latin typeface="Comic Sans MS" panose="030F0902030302020204" pitchFamily="66" charset="0"/>
              </a:rPr>
              <a:t>Curated</a:t>
            </a:r>
          </a:p>
        </p:txBody>
      </p:sp>
    </p:spTree>
    <p:extLst>
      <p:ext uri="{BB962C8B-B14F-4D97-AF65-F5344CB8AC3E}">
        <p14:creationId xmlns:p14="http://schemas.microsoft.com/office/powerpoint/2010/main" val="38559913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="" xmlns:ma14="http://schemas.microsoft.com/office/mac/drawingml/2011/main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CITIBanamex-MX2020 Grid 16:9">
  <a:themeElements>
    <a:clrScheme name="CITIBanamex-MX2020">
      <a:dk1>
        <a:srgbClr val="002D72"/>
      </a:dk1>
      <a:lt1>
        <a:sysClr val="window" lastClr="FFFFFF"/>
      </a:lt1>
      <a:dk2>
        <a:srgbClr val="002D72"/>
      </a:dk2>
      <a:lt2>
        <a:srgbClr val="F2F2F2"/>
      </a:lt2>
      <a:accent1>
        <a:srgbClr val="001636"/>
      </a:accent1>
      <a:accent2>
        <a:srgbClr val="001F4C"/>
      </a:accent2>
      <a:accent3>
        <a:srgbClr val="FEEC00"/>
      </a:accent3>
      <a:accent4>
        <a:srgbClr val="004683"/>
      </a:accent4>
      <a:accent5>
        <a:srgbClr val="808080"/>
      </a:accent5>
      <a:accent6>
        <a:srgbClr val="8C0512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1.xml><?xml version="1.0" encoding="utf-8"?>
<a:theme xmlns:a="http://schemas.openxmlformats.org/drawingml/2006/main" name="4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12.xml><?xml version="1.0" encoding="utf-8"?>
<a:theme xmlns:a="http://schemas.openxmlformats.org/drawingml/2006/main" name="5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D4C19DBE-7440-4D40-A0AB-8BCC335FFB2D}" vid="{F0E4EF95-0183-4CD1-8F68-50C0E32646C5}"/>
    </a:ext>
  </a:extLst>
</a:theme>
</file>

<file path=ppt/theme/theme13.xml><?xml version="1.0" encoding="utf-8"?>
<a:theme xmlns:a="http://schemas.openxmlformats.org/drawingml/2006/main" name="Citi Consumer PPT Template">
  <a:themeElements>
    <a:clrScheme name="Citi_corporate_sampleslides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_Citi Consumer PPT Template">
  <a:themeElements>
    <a:clrScheme name="Citi_corporate_sampleslides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3_Citi Consumer PPT Template">
  <a:themeElements>
    <a:clrScheme name="Citi_corporate_sampleslides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6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17.xml><?xml version="1.0" encoding="utf-8"?>
<a:theme xmlns:a="http://schemas.openxmlformats.org/drawingml/2006/main" name="9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D4C19DBE-7440-4D40-A0AB-8BCC335FFB2D}" vid="{F0E4EF95-0183-4CD1-8F68-50C0E32646C5}"/>
    </a:ext>
  </a:extLst>
</a:theme>
</file>

<file path=ppt/theme/theme18.xml><?xml version="1.0" encoding="utf-8"?>
<a:theme xmlns:a="http://schemas.openxmlformats.org/drawingml/2006/main" name="1_CITIBanamex-MX2020 Grid 16:9">
  <a:themeElements>
    <a:clrScheme name="CITIBanamex-MX2020">
      <a:dk1>
        <a:srgbClr val="002D72"/>
      </a:dk1>
      <a:lt1>
        <a:sysClr val="window" lastClr="FFFFFF"/>
      </a:lt1>
      <a:dk2>
        <a:srgbClr val="002D72"/>
      </a:dk2>
      <a:lt2>
        <a:srgbClr val="F2F2F2"/>
      </a:lt2>
      <a:accent1>
        <a:srgbClr val="001636"/>
      </a:accent1>
      <a:accent2>
        <a:srgbClr val="001F4C"/>
      </a:accent2>
      <a:accent3>
        <a:srgbClr val="FEEC00"/>
      </a:accent3>
      <a:accent4>
        <a:srgbClr val="004683"/>
      </a:accent4>
      <a:accent5>
        <a:srgbClr val="808080"/>
      </a:accent5>
      <a:accent6>
        <a:srgbClr val="8C0512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9.xml><?xml version="1.0" encoding="utf-8"?>
<a:theme xmlns:a="http://schemas.openxmlformats.org/drawingml/2006/main" name="7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.xml><?xml version="1.0" encoding="utf-8"?>
<a:theme xmlns:a="http://schemas.openxmlformats.org/drawingml/2006/main" name="Blank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0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1.xml><?xml version="1.0" encoding="utf-8"?>
<a:theme xmlns:a="http://schemas.openxmlformats.org/drawingml/2006/main" name="14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2.xml><?xml version="1.0" encoding="utf-8"?>
<a:theme xmlns:a="http://schemas.openxmlformats.org/drawingml/2006/main" name="16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3.xml><?xml version="1.0" encoding="utf-8"?>
<a:theme xmlns:a="http://schemas.openxmlformats.org/drawingml/2006/main" name="20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4.xml><?xml version="1.0" encoding="utf-8"?>
<a:theme xmlns:a="http://schemas.openxmlformats.org/drawingml/2006/main" name="22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lank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7.xml><?xml version="1.0" encoding="utf-8"?>
<a:theme xmlns:a="http://schemas.openxmlformats.org/drawingml/2006/main" name="6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="" xmlns:ma14="http://schemas.microsoft.com/office/mac/drawingml/2011/main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="" xmlns:ma14="http://schemas.microsoft.com/office/mac/drawingml/2011/main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="" xmlns:ma14="http://schemas.microsoft.com/office/mac/drawingml/2011/main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10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11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2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3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4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5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6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7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8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9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B6DAF26F1FA34C9968937CFA030B63" ma:contentTypeVersion="0" ma:contentTypeDescription="Create a new document." ma:contentTypeScope="" ma:versionID="a5cc2eeeccbe52524a27b47f4d13028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A4F180F-7220-4F05-B300-DD118256FEC8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9979982-5A80-4893-AE82-91CBA89539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9E2C78B-494A-455D-B35E-0545BB93E9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945</TotalTime>
  <Words>958</Words>
  <Application>Microsoft Macintosh PowerPoint</Application>
  <PresentationFormat>Widescreen</PresentationFormat>
  <Paragraphs>153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4" baseType="lpstr">
      <vt:lpstr>Arial</vt:lpstr>
      <vt:lpstr>Calibri</vt:lpstr>
      <vt:lpstr>Comic Sans MS</vt:lpstr>
      <vt:lpstr>Courier New</vt:lpstr>
      <vt:lpstr>Times</vt:lpstr>
      <vt:lpstr>Times New Roman</vt:lpstr>
      <vt:lpstr>Trebuchet MS</vt:lpstr>
      <vt:lpstr>Wingdings</vt:lpstr>
      <vt:lpstr>CitiBanamex_corporate_template_091212</vt:lpstr>
      <vt:lpstr>Blank</vt:lpstr>
      <vt:lpstr>1_Blank</vt:lpstr>
      <vt:lpstr>3_CitiBanamex_corporate_template_091212</vt:lpstr>
      <vt:lpstr>4_CitiBanamex_corporate_template_091212</vt:lpstr>
      <vt:lpstr>2_Blank</vt:lpstr>
      <vt:lpstr>6_CitiBanamex_corporate_template_091212</vt:lpstr>
      <vt:lpstr>10_CitiBanamex_corporate_template_091212</vt:lpstr>
      <vt:lpstr>11_CitiBanamex_corporate_template_091212</vt:lpstr>
      <vt:lpstr>CITIBanamex-MX2020 Grid 16:9</vt:lpstr>
      <vt:lpstr>4_Blank</vt:lpstr>
      <vt:lpstr>5_Blank</vt:lpstr>
      <vt:lpstr>Citi Consumer PPT Template</vt:lpstr>
      <vt:lpstr>2_Citi Consumer PPT Template</vt:lpstr>
      <vt:lpstr>3_Citi Consumer PPT Template</vt:lpstr>
      <vt:lpstr>6_Blank</vt:lpstr>
      <vt:lpstr>9_Blank</vt:lpstr>
      <vt:lpstr>1_CITIBanamex-MX2020 Grid 16:9</vt:lpstr>
      <vt:lpstr>7_Blank</vt:lpstr>
      <vt:lpstr>10_Blank</vt:lpstr>
      <vt:lpstr>14_Blank</vt:lpstr>
      <vt:lpstr>16_Blank</vt:lpstr>
      <vt:lpstr>20_Blank</vt:lpstr>
      <vt:lpstr>22_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scon, Gerardo</dc:creator>
  <cp:lastModifiedBy>Susana Edith Barrientos</cp:lastModifiedBy>
  <cp:revision>2983</cp:revision>
  <cp:lastPrinted>2017-11-08T02:49:06Z</cp:lastPrinted>
  <dcterms:created xsi:type="dcterms:W3CDTF">2017-07-20T18:35:30Z</dcterms:created>
  <dcterms:modified xsi:type="dcterms:W3CDTF">2020-02-10T21:3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BB6DAF26F1FA34C9968937CFA030B63</vt:lpwstr>
  </property>
</Properties>
</file>